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3.xml" ContentType="application/vnd.openxmlformats-officedocument.presentationml.notesSlide+xml"/>
  <Override PartName="/ppt/theme/themeOverride4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heme/themeOverride5.xml" ContentType="application/vnd.openxmlformats-officedocument.themeOverr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7.xml" ContentType="application/vnd.openxmlformats-officedocument.presentationml.tags+xml"/>
  <Override PartName="/ppt/notesSlides/notesSlide13.xml" ContentType="application/vnd.openxmlformats-officedocument.presentationml.notesSlide+xml"/>
  <Override PartName="/ppt/theme/themeOverride6.xml" ContentType="application/vnd.openxmlformats-officedocument.themeOverr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heme/themeOverride7.xml" ContentType="application/vnd.openxmlformats-officedocument.themeOverr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heme/themeOverride8.xml" ContentType="application/vnd.openxmlformats-officedocument.themeOverr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48" r:id="rId1"/>
    <p:sldMasterId id="2147483712" r:id="rId2"/>
  </p:sldMasterIdLst>
  <p:notesMasterIdLst>
    <p:notesMasterId r:id="rId28"/>
  </p:notesMasterIdLst>
  <p:sldIdLst>
    <p:sldId id="256" r:id="rId3"/>
    <p:sldId id="257" r:id="rId4"/>
    <p:sldId id="258" r:id="rId5"/>
    <p:sldId id="259" r:id="rId6"/>
    <p:sldId id="284" r:id="rId7"/>
    <p:sldId id="285" r:id="rId8"/>
    <p:sldId id="286" r:id="rId9"/>
    <p:sldId id="287" r:id="rId10"/>
    <p:sldId id="308" r:id="rId11"/>
    <p:sldId id="328" r:id="rId12"/>
    <p:sldId id="335" r:id="rId13"/>
    <p:sldId id="336" r:id="rId14"/>
    <p:sldId id="337" r:id="rId15"/>
    <p:sldId id="309" r:id="rId16"/>
    <p:sldId id="329" r:id="rId17"/>
    <p:sldId id="331" r:id="rId18"/>
    <p:sldId id="330" r:id="rId19"/>
    <p:sldId id="340" r:id="rId20"/>
    <p:sldId id="310" r:id="rId21"/>
    <p:sldId id="332" r:id="rId22"/>
    <p:sldId id="333" r:id="rId23"/>
    <p:sldId id="334" r:id="rId24"/>
    <p:sldId id="338" r:id="rId25"/>
    <p:sldId id="283" r:id="rId26"/>
    <p:sldId id="321" r:id="rId27"/>
  </p:sldIdLst>
  <p:sldSz cx="9144000" cy="5145088"/>
  <p:notesSz cx="6858000" cy="9144000"/>
  <p:custDataLst>
    <p:tags r:id="rId29"/>
  </p:custDataLst>
  <p:defaultTextStyle>
    <a:defPPr>
      <a:defRPr lang="zh-CN"/>
    </a:defPPr>
    <a:lvl1pPr marL="0" algn="l" defTabSz="68516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16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16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16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16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16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16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16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165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1B5E1"/>
    <a:srgbClr val="D9D9D9"/>
    <a:srgbClr val="F3AD00"/>
    <a:srgbClr val="7A801D"/>
    <a:srgbClr val="030303"/>
    <a:srgbClr val="514379"/>
    <a:srgbClr val="011E41"/>
    <a:srgbClr val="240C0F"/>
    <a:srgbClr val="E40077"/>
    <a:srgbClr val="C41C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476" autoAdjust="0"/>
    <p:restoredTop sz="91955" autoAdjust="0"/>
  </p:normalViewPr>
  <p:slideViewPr>
    <p:cSldViewPr snapToGrid="0">
      <p:cViewPr varScale="1">
        <p:scale>
          <a:sx n="114" d="100"/>
          <a:sy n="114" d="100"/>
        </p:scale>
        <p:origin x="111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Relationship Id="rId8" Type="http://schemas.openxmlformats.org/officeDocument/2006/relationships/slide" Target="slides/slide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5A5268-FB0C-450E-96E9-03F931237804}" type="datetimeFigureOut">
              <a:rPr lang="zh-CN" altLang="en-US" smtClean="0"/>
              <a:t>2024/7/1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1143000"/>
            <a:ext cx="5483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56156D-592E-4B4D-8772-D689FB057AF4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765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65" algn="l" defTabSz="9137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1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1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1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1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1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1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1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1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1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Template from: https://www.freeppt7.com/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1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2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2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2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2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2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6156D-592E-4B4D-8772-D689FB057AF4}" type="slidenum">
              <a:rPr lang="zh-CN" altLang="en-US" smtClean="0"/>
              <a:t>9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hyperlink" Target="http://www.1ppt.com/hangye/" TargetMode="Externa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hyperlink" Target="http://www.1ppt.com/xiazai/" TargetMode="External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8315"/>
            <a:ext cx="7772400" cy="1102859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5550"/>
            <a:ext cx="6400800" cy="131485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7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9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1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8736"/>
            <a:ext cx="2133600" cy="273928"/>
          </a:xfrm>
          <a:prstGeom prst="rect">
            <a:avLst/>
          </a:prstGeom>
        </p:spPr>
        <p:txBody>
          <a:bodyPr/>
          <a:lstStyle/>
          <a:p>
            <a:fld id="{B95FC270-55C9-4A20-A67A-3DE973D1FE95}" type="datetimeFigureOut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t>2024/7/17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1" y="4768736"/>
            <a:ext cx="2895600" cy="273928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8736"/>
            <a:ext cx="2133600" cy="273928"/>
          </a:xfrm>
          <a:prstGeom prst="rect">
            <a:avLst/>
          </a:prstGeom>
        </p:spPr>
        <p:txBody>
          <a:bodyPr/>
          <a:lstStyle/>
          <a:p>
            <a:fld id="{8961FD41-A0E4-414C-A973-C8EC8DF1BF61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spd="slow" advTm="2000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17212793"/>
      </p:ext>
    </p:extLst>
  </p:cSld>
  <p:clrMapOvr>
    <a:masterClrMapping/>
  </p:clrMapOvr>
  <p:transition spd="slow" advTm="2000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381089154"/>
      </p:ext>
    </p:extLst>
  </p:cSld>
  <p:clrMapOvr>
    <a:masterClrMapping/>
  </p:clrMapOvr>
  <p:transition spd="slow" advTm="2000">
    <p:wip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09304788"/>
      </p:ext>
    </p:extLst>
  </p:cSld>
  <p:clrMapOvr>
    <a:masterClrMapping/>
  </p:clrMapOvr>
  <p:transition spd="slow" advTm="2000">
    <p:wip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027958922"/>
      </p:ext>
    </p:extLst>
  </p:cSld>
  <p:clrMapOvr>
    <a:masterClrMapping/>
  </p:clrMapOvr>
  <p:transition spd="slow" advTm="2000">
    <p:wip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62230628"/>
      </p:ext>
    </p:extLst>
  </p:cSld>
  <p:clrMapOvr>
    <a:masterClrMapping/>
  </p:clrMapOvr>
  <p:transition spd="slow" advTm="2000">
    <p:wip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144131335"/>
      </p:ext>
    </p:extLst>
  </p:cSld>
  <p:clrMapOvr>
    <a:masterClrMapping/>
  </p:clrMapOvr>
  <p:transition spd="slow" advTm="2000">
    <p:wip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342097410"/>
      </p:ext>
    </p:extLst>
  </p:cSld>
  <p:clrMapOvr>
    <a:masterClrMapping/>
  </p:clrMapOvr>
  <p:transition spd="slow" advTm="2000">
    <p:wip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175792540"/>
      </p:ext>
    </p:extLst>
  </p:cSld>
  <p:clrMapOvr>
    <a:masterClrMapping/>
  </p:clrMapOvr>
  <p:transition spd="slow" advTm="2000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50520048"/>
      </p:ext>
    </p:extLst>
  </p:cSld>
  <p:clrMapOvr>
    <a:masterClrMapping/>
  </p:clrMapOvr>
  <p:transition spd="slow" advTm="2000">
    <p:wip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261249197"/>
      </p:ext>
    </p:extLst>
  </p:cSld>
  <p:clrMapOvr>
    <a:masterClrMapping/>
  </p:clrMapOvr>
  <p:transition spd="slow" advTm="2000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bg>
      <p:bgPr>
        <a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6196"/>
            <a:ext cx="7772400" cy="1021872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708"/>
            <a:ext cx="7772400" cy="11254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376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096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16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47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19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13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569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8736"/>
            <a:ext cx="2133600" cy="273928"/>
          </a:xfrm>
          <a:prstGeom prst="rect">
            <a:avLst/>
          </a:prstGeom>
        </p:spPr>
        <p:txBody>
          <a:bodyPr/>
          <a:lstStyle/>
          <a:p>
            <a:fld id="{B95FC270-55C9-4A20-A67A-3DE973D1FE95}" type="datetimeFigureOut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t>2024/7/17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1" y="4768736"/>
            <a:ext cx="2895600" cy="273928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8736"/>
            <a:ext cx="2133600" cy="273928"/>
          </a:xfrm>
          <a:prstGeom prst="rect">
            <a:avLst/>
          </a:prstGeom>
        </p:spPr>
        <p:txBody>
          <a:bodyPr/>
          <a:lstStyle/>
          <a:p>
            <a:fld id="{8961FD41-A0E4-414C-A973-C8EC8DF1BF61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</p:spTree>
  </p:cSld>
  <p:clrMapOvr>
    <a:masterClrMapping/>
  </p:clrMapOvr>
  <p:transition spd="slow" advTm="2000">
    <p:wip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781772697"/>
      </p:ext>
    </p:extLst>
  </p:cSld>
  <p:clrMapOvr>
    <a:masterClrMapping/>
  </p:clrMapOvr>
  <p:transition spd="slow" advTm="2000">
    <p:wip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367200951"/>
      </p:ext>
    </p:extLst>
  </p:cSld>
  <p:clrMapOvr>
    <a:masterClrMapping/>
  </p:clrMapOvr>
  <p:transition spd="slow" advTm="2000">
    <p:wip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154589662"/>
      </p:ext>
    </p:extLst>
  </p:cSld>
  <p:clrMapOvr>
    <a:masterClrMapping/>
  </p:clrMapOvr>
  <p:transition spd="slow" advTm="2000">
    <p:wip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593604202"/>
      </p:ext>
    </p:extLst>
  </p:cSld>
  <p:clrMapOvr>
    <a:masterClrMapping/>
  </p:clrMapOvr>
  <p:transition spd="slow" advTm="2000">
    <p:wip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816943689"/>
      </p:ext>
    </p:extLst>
  </p:cSld>
  <p:clrMapOvr>
    <a:masterClrMapping/>
  </p:clrMapOvr>
  <p:transition spd="slow" advTm="2000">
    <p:wip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332702823"/>
      </p:ext>
    </p:extLst>
  </p:cSld>
  <p:clrMapOvr>
    <a:masterClrMapping/>
  </p:clrMapOvr>
  <p:transition spd="slow" advTm="2000">
    <p:wip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161868194"/>
      </p:ext>
    </p:extLst>
  </p:cSld>
  <p:clrMapOvr>
    <a:masterClrMapping/>
  </p:clrMapOvr>
  <p:transition spd="slow" advTm="2000">
    <p:wip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285823037"/>
      </p:ext>
    </p:extLst>
  </p:cSld>
  <p:clrMapOvr>
    <a:masterClrMapping/>
  </p:clrMapOvr>
  <p:transition spd="slow" advTm="2000">
    <p:wip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752279328"/>
      </p:ext>
    </p:extLst>
  </p:cSld>
  <p:clrMapOvr>
    <a:masterClrMapping/>
  </p:clrMapOvr>
  <p:transition spd="slow" advTm="2000">
    <p:wip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760208677"/>
      </p:ext>
    </p:extLst>
  </p:cSld>
  <p:clrMapOvr>
    <a:masterClrMapping/>
  </p:clrMapOvr>
  <p:transition spd="slow" advTm="2000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bg>
      <p:bgPr>
        <a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06043"/>
            <a:ext cx="8229600" cy="85751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457200" y="4768736"/>
            <a:ext cx="2133600" cy="273928"/>
          </a:xfrm>
          <a:prstGeom prst="rect">
            <a:avLst/>
          </a:prstGeom>
        </p:spPr>
        <p:txBody>
          <a:bodyPr/>
          <a:lstStyle/>
          <a:p>
            <a:fld id="{B95FC270-55C9-4A20-A67A-3DE973D1FE95}" type="datetimeFigureOut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t>2024/7/17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3124201" y="4768736"/>
            <a:ext cx="2895600" cy="273928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6553200" y="4768736"/>
            <a:ext cx="2133600" cy="273928"/>
          </a:xfrm>
          <a:prstGeom prst="rect">
            <a:avLst/>
          </a:prstGeom>
        </p:spPr>
        <p:txBody>
          <a:bodyPr/>
          <a:lstStyle/>
          <a:p>
            <a:fld id="{8961FD41-A0E4-414C-A973-C8EC8DF1BF61}" type="slidenum">
              <a:rPr lang="zh-CN" altLang="en-US" smtClean="0">
                <a:solidFill>
                  <a:srgbClr val="000000">
                    <a:tint val="75000"/>
                  </a:srgbClr>
                </a:solidFill>
              </a:rPr>
              <a:t>‹#›</a:t>
            </a:fld>
            <a:endParaRPr lang="zh-CN" altLang="en-US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6" name="图片 5" descr="5b8d3ec187f4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480" y="748030"/>
            <a:ext cx="9205595" cy="4294505"/>
          </a:xfrm>
          <a:prstGeom prst="rect">
            <a:avLst/>
          </a:prstGeom>
        </p:spPr>
      </p:pic>
    </p:spTree>
  </p:cSld>
  <p:clrMapOvr>
    <a:masterClrMapping/>
  </p:clrMapOvr>
  <p:transition spd="slow" advTm="2000">
    <p:wip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822752203"/>
      </p:ext>
    </p:extLst>
  </p:cSld>
  <p:clrMapOvr>
    <a:masterClrMapping/>
  </p:clrMapOvr>
  <p:transition spd="slow" advTm="2000">
    <p:wip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176897041"/>
      </p:ext>
    </p:extLst>
  </p:cSld>
  <p:clrMapOvr>
    <a:masterClrMapping/>
  </p:clrMapOvr>
  <p:transition spd="slow" advTm="2000">
    <p:wip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21554293"/>
      </p:ext>
    </p:extLst>
  </p:cSld>
  <p:clrMapOvr>
    <a:masterClrMapping/>
  </p:clrMapOvr>
  <p:transition spd="slow" advTm="2000">
    <p:wip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027668433"/>
      </p:ext>
    </p:extLst>
  </p:cSld>
  <p:clrMapOvr>
    <a:masterClrMapping/>
  </p:clrMapOvr>
  <p:transition spd="slow" advTm="2000">
    <p:wip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720701151"/>
      </p:ext>
    </p:extLst>
  </p:cSld>
  <p:clrMapOvr>
    <a:masterClrMapping/>
  </p:clrMapOvr>
  <p:transition spd="slow" advTm="2000">
    <p:wip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09296230"/>
      </p:ext>
    </p:extLst>
  </p:cSld>
  <p:clrMapOvr>
    <a:masterClrMapping/>
  </p:clrMapOvr>
  <p:transition spd="slow" advTm="2000">
    <p:wip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068020771"/>
      </p:ext>
    </p:extLst>
  </p:cSld>
  <p:clrMapOvr>
    <a:masterClrMapping/>
  </p:clrMapOvr>
  <p:transition spd="slow" advTm="2000">
    <p:wip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742638652"/>
      </p:ext>
    </p:extLst>
  </p:cSld>
  <p:clrMapOvr>
    <a:masterClrMapping/>
  </p:clrMapOvr>
  <p:transition spd="slow" advTm="2000">
    <p:wip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43284528"/>
      </p:ext>
    </p:extLst>
  </p:cSld>
  <p:clrMapOvr>
    <a:masterClrMapping/>
  </p:clrMapOvr>
  <p:transition spd="slow" advTm="2000">
    <p:wip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746057850"/>
      </p:ext>
    </p:extLst>
  </p:cSld>
  <p:clrMapOvr>
    <a:masterClrMapping/>
  </p:clrMapOvr>
  <p:transition spd="slow" advTm="2000"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592925550"/>
      </p:ext>
    </p:extLst>
  </p:cSld>
  <p:clrMapOvr>
    <a:masterClrMapping/>
  </p:clrMapOvr>
  <p:transition spd="slow" advTm="2000">
    <p:wip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907738264"/>
      </p:ext>
    </p:extLst>
  </p:cSld>
  <p:clrMapOvr>
    <a:masterClrMapping/>
  </p:clrMapOvr>
  <p:transition spd="slow" advTm="2000">
    <p:wip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840038119"/>
      </p:ext>
    </p:extLst>
  </p:cSld>
  <p:clrMapOvr>
    <a:masterClrMapping/>
  </p:clrMapOvr>
  <p:transition spd="slow" advTm="2000">
    <p:wip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190208475"/>
      </p:ext>
    </p:extLst>
  </p:cSld>
  <p:clrMapOvr>
    <a:masterClrMapping/>
  </p:clrMapOvr>
  <p:transition spd="slow" advTm="2000">
    <p:wip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812657665"/>
      </p:ext>
    </p:extLst>
  </p:cSld>
  <p:clrMapOvr>
    <a:masterClrMapping/>
  </p:clrMapOvr>
  <p:transition spd="slow" advTm="2000">
    <p:wip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156316975"/>
      </p:ext>
    </p:extLst>
  </p:cSld>
  <p:clrMapOvr>
    <a:masterClrMapping/>
  </p:clrMapOvr>
  <p:transition spd="slow" advTm="2000">
    <p:wip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63748789"/>
      </p:ext>
    </p:extLst>
  </p:cSld>
  <p:clrMapOvr>
    <a:masterClrMapping/>
  </p:clrMapOvr>
  <p:transition spd="slow" advTm="2000">
    <p:wip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957678815"/>
      </p:ext>
    </p:extLst>
  </p:cSld>
  <p:clrMapOvr>
    <a:masterClrMapping/>
  </p:clrMapOvr>
  <p:transition spd="slow" advTm="2000">
    <p:wip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156517549"/>
      </p:ext>
    </p:extLst>
  </p:cSld>
  <p:clrMapOvr>
    <a:masterClrMapping/>
  </p:clrMapOvr>
  <p:transition spd="slow" advTm="2000">
    <p:wip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064132634"/>
      </p:ext>
    </p:extLst>
  </p:cSld>
  <p:clrMapOvr>
    <a:masterClrMapping/>
  </p:clrMapOvr>
  <p:transition spd="slow" advTm="2000">
    <p:wip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731396356"/>
      </p:ext>
    </p:extLst>
  </p:cSld>
  <p:clrMapOvr>
    <a:masterClrMapping/>
  </p:clrMapOvr>
  <p:transition spd="slow" advTm="2000">
    <p:wip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59453874"/>
      </p:ext>
    </p:extLst>
  </p:cSld>
  <p:clrMapOvr>
    <a:masterClrMapping/>
  </p:clrMapOvr>
  <p:transition spd="slow" advTm="2000">
    <p:wip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45517180"/>
      </p:ext>
    </p:extLst>
  </p:cSld>
  <p:clrMapOvr>
    <a:masterClrMapping/>
  </p:clrMapOvr>
  <p:transition spd="slow" advTm="2000">
    <p:wip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714751142"/>
      </p:ext>
    </p:extLst>
  </p:cSld>
  <p:clrMapOvr>
    <a:masterClrMapping/>
  </p:clrMapOvr>
  <p:transition spd="slow" advTm="2000">
    <p:wip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347550350"/>
      </p:ext>
    </p:extLst>
  </p:cSld>
  <p:clrMapOvr>
    <a:masterClrMapping/>
  </p:clrMapOvr>
  <p:transition spd="slow" advTm="2000">
    <p:wip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165341367"/>
      </p:ext>
    </p:extLst>
  </p:cSld>
  <p:clrMapOvr>
    <a:masterClrMapping/>
  </p:clrMapOvr>
  <p:transition spd="slow" advTm="2000">
    <p:wip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718137822"/>
      </p:ext>
    </p:extLst>
  </p:cSld>
  <p:clrMapOvr>
    <a:masterClrMapping/>
  </p:clrMapOvr>
  <p:transition spd="slow" advTm="2000">
    <p:wip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083145970"/>
      </p:ext>
    </p:extLst>
  </p:cSld>
  <p:clrMapOvr>
    <a:masterClrMapping/>
  </p:clrMapOvr>
  <p:transition spd="slow" advTm="2000">
    <p:wip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9251211"/>
      </p:ext>
    </p:extLst>
  </p:cSld>
  <p:clrMapOvr>
    <a:masterClrMapping/>
  </p:clrMapOvr>
  <p:transition spd="slow" advTm="2000">
    <p:wip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815300076"/>
      </p:ext>
    </p:extLst>
  </p:cSld>
  <p:clrMapOvr>
    <a:masterClrMapping/>
  </p:clrMapOvr>
  <p:transition spd="slow" advTm="2000">
    <p:wip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84031331"/>
      </p:ext>
    </p:extLst>
  </p:cSld>
  <p:clrMapOvr>
    <a:masterClrMapping/>
  </p:clrMapOvr>
  <p:transition spd="slow" advTm="2000">
    <p:wip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TextBox 8"/>
          <p:cNvSpPr txBox="1"/>
          <p:nvPr userDrawn="1"/>
        </p:nvSpPr>
        <p:spPr>
          <a:xfrm>
            <a:off x="453650" y="4"/>
            <a:ext cx="540060" cy="1231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100" dirty="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"/>
              </a:rPr>
              <a:t>行业</a:t>
            </a:r>
            <a:r>
              <a:rPr lang="en-US" altLang="zh-CN" sz="100" dirty="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"/>
              </a:rPr>
              <a:t>PPT</a:t>
            </a:r>
            <a:r>
              <a:rPr lang="zh-CN" altLang="en-US" sz="100" dirty="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"/>
              </a:rPr>
              <a:t>模板</a:t>
            </a:r>
            <a:r>
              <a:rPr lang="en-US" altLang="zh-CN" sz="100" dirty="0">
                <a:solidFill>
                  <a:schemeClr val="tx1">
                    <a:alpha val="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://www.1ppt.com/hangye/</a:t>
            </a:r>
          </a:p>
        </p:txBody>
      </p:sp>
    </p:spTree>
    <p:extLst>
      <p:ext uri="{BB962C8B-B14F-4D97-AF65-F5344CB8AC3E}">
        <p14:creationId xmlns:p14="http://schemas.microsoft.com/office/powerpoint/2010/main" val="138400204"/>
      </p:ext>
    </p:extLst>
  </p:cSld>
  <p:clrMapOvr>
    <a:masterClrMapping/>
  </p:clrMapOvr>
  <p:transition spd="slow" advTm="2000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903853021"/>
      </p:ext>
    </p:extLst>
  </p:cSld>
  <p:clrMapOvr>
    <a:masterClrMapping/>
  </p:clrMapOvr>
  <p:transition spd="slow" advTm="2000">
    <p:wip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913413012"/>
      </p:ext>
    </p:extLst>
  </p:cSld>
  <p:clrMapOvr>
    <a:masterClrMapping/>
  </p:clrMapOvr>
  <p:transition spd="slow" advTm="2000">
    <p:wip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837011880"/>
      </p:ext>
    </p:extLst>
  </p:cSld>
  <p:clrMapOvr>
    <a:masterClrMapping/>
  </p:clrMapOvr>
  <p:transition spd="slow" advTm="2000">
    <p:wip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980919495"/>
      </p:ext>
    </p:extLst>
  </p:cSld>
  <p:clrMapOvr>
    <a:masterClrMapping/>
  </p:clrMapOvr>
  <p:transition spd="slow" advTm="2000">
    <p:wip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06043"/>
            <a:ext cx="8229600" cy="85751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57201" y="1200520"/>
            <a:ext cx="8229600" cy="339552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1" y="4768736"/>
            <a:ext cx="2133600" cy="273928"/>
          </a:xfrm>
          <a:prstGeom prst="rect">
            <a:avLst/>
          </a:prstGeom>
        </p:spPr>
        <p:txBody>
          <a:bodyPr/>
          <a:lstStyle/>
          <a:p>
            <a:fld id="{8B35F0B1-53A2-4F58-A419-9B6A1424FB57}" type="datetimeFigureOut">
              <a:rPr lang="zh-CN" altLang="en-US" smtClean="0">
                <a:solidFill>
                  <a:srgbClr val="000000"/>
                </a:solidFill>
              </a:rPr>
              <a:t>2024/7/17</a:t>
            </a:fld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1" y="4768736"/>
            <a:ext cx="2895599" cy="273928"/>
          </a:xfrm>
          <a:prstGeom prst="rect">
            <a:avLst/>
          </a:prstGeom>
        </p:spPr>
        <p:txBody>
          <a:bodyPr/>
          <a:lstStyle/>
          <a:p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8736"/>
            <a:ext cx="2133600" cy="273928"/>
          </a:xfrm>
          <a:prstGeom prst="rect">
            <a:avLst/>
          </a:prstGeom>
        </p:spPr>
        <p:txBody>
          <a:bodyPr/>
          <a:lstStyle/>
          <a:p>
            <a:fld id="{18EBF4EF-A2BF-4103-B2B4-2A3D5169DA7D}" type="slidenum">
              <a:rPr lang="zh-CN" altLang="en-US" smtClean="0">
                <a:solidFill>
                  <a:srgbClr val="000000"/>
                </a:solidFill>
              </a:rPr>
              <a:t>‹#›</a:t>
            </a:fld>
            <a:endParaRPr lang="zh-CN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 spd="slow" advTm="2000">
    <p:wip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bg>
      <p:bgPr>
        <a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 advTm="2000">
    <p:wip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E11ECF-D4C8-74D4-A731-3B62D45008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E9624D-FE2D-4597-B311-55080AF42397}" type="datetimeFigureOut">
              <a:rPr lang="en-US" smtClean="0"/>
              <a:t>7/17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85B175-83FF-DAAA-E479-2028076C07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6CACBA-1D1C-50B8-579A-DFC0D210C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4EED9A-F093-4465-B20F-8EFB89AAAD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15651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042"/>
            <a:ext cx="8229600" cy="85751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522"/>
            <a:ext cx="8229600" cy="339552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8736"/>
            <a:ext cx="2133600" cy="273929"/>
          </a:xfrm>
          <a:prstGeom prst="rect">
            <a:avLst/>
          </a:prstGeom>
        </p:spPr>
        <p:txBody>
          <a:bodyPr/>
          <a:lstStyle/>
          <a:p>
            <a:pPr defTabSz="914400"/>
            <a:fld id="{2E3AAC11-D570-4EA9-AFC0-30FB72BA45EB}" type="datetimeFigureOut">
              <a:rPr lang="zh-CN" altLang="en-US" sz="1800" smtClean="0">
                <a:solidFill>
                  <a:prstClr val="black"/>
                </a:solidFill>
              </a:rPr>
              <a:pPr defTabSz="914400"/>
              <a:t>2024/7/17</a:t>
            </a:fld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8736"/>
            <a:ext cx="2895600" cy="273929"/>
          </a:xfrm>
          <a:prstGeom prst="rect">
            <a:avLst/>
          </a:prstGeom>
        </p:spPr>
        <p:txBody>
          <a:bodyPr/>
          <a:lstStyle/>
          <a:p>
            <a:pPr defTabSz="914400"/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8736"/>
            <a:ext cx="2133600" cy="273929"/>
          </a:xfrm>
          <a:prstGeom prst="rect">
            <a:avLst/>
          </a:prstGeom>
        </p:spPr>
        <p:txBody>
          <a:bodyPr/>
          <a:lstStyle/>
          <a:p>
            <a:pPr defTabSz="914400"/>
            <a:fld id="{55ECCFAA-F4FB-487C-9F1E-C8836D0C3DC9}" type="slidenum">
              <a:rPr lang="zh-CN" altLang="en-US" sz="1800" smtClean="0">
                <a:solidFill>
                  <a:prstClr val="black"/>
                </a:solidFill>
              </a:rPr>
              <a:pPr defTabSz="914400"/>
              <a:t>‹#›</a:t>
            </a:fld>
            <a:endParaRPr lang="zh-CN" altLang="en-US" sz="18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09543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06044"/>
            <a:ext cx="2057400" cy="4389999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06044"/>
            <a:ext cx="6019800" cy="438999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8736"/>
            <a:ext cx="2133600" cy="273929"/>
          </a:xfrm>
          <a:prstGeom prst="rect">
            <a:avLst/>
          </a:prstGeom>
        </p:spPr>
        <p:txBody>
          <a:bodyPr/>
          <a:lstStyle/>
          <a:p>
            <a:pPr defTabSz="914400"/>
            <a:fld id="{2E3AAC11-D570-4EA9-AFC0-30FB72BA45EB}" type="datetimeFigureOut">
              <a:rPr lang="zh-CN" altLang="en-US" sz="1800" smtClean="0">
                <a:solidFill>
                  <a:prstClr val="black"/>
                </a:solidFill>
              </a:rPr>
              <a:pPr defTabSz="914400"/>
              <a:t>2024/7/17</a:t>
            </a:fld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8736"/>
            <a:ext cx="2895600" cy="273929"/>
          </a:xfrm>
          <a:prstGeom prst="rect">
            <a:avLst/>
          </a:prstGeom>
        </p:spPr>
        <p:txBody>
          <a:bodyPr/>
          <a:lstStyle/>
          <a:p>
            <a:pPr defTabSz="914400"/>
            <a:endParaRPr lang="zh-CN" altLang="en-US" sz="1800">
              <a:solidFill>
                <a:prstClr val="black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8736"/>
            <a:ext cx="2133600" cy="273929"/>
          </a:xfrm>
          <a:prstGeom prst="rect">
            <a:avLst/>
          </a:prstGeom>
        </p:spPr>
        <p:txBody>
          <a:bodyPr/>
          <a:lstStyle/>
          <a:p>
            <a:pPr defTabSz="914400"/>
            <a:fld id="{55ECCFAA-F4FB-487C-9F1E-C8836D0C3DC9}" type="slidenum">
              <a:rPr lang="zh-CN" altLang="en-US" sz="1800" smtClean="0">
                <a:solidFill>
                  <a:prstClr val="black"/>
                </a:solidFill>
              </a:rPr>
              <a:pPr defTabSz="914400"/>
              <a:t>‹#›</a:t>
            </a:fld>
            <a:endParaRPr lang="zh-CN" altLang="en-US" sz="18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87959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0958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921006784"/>
      </p:ext>
    </p:extLst>
  </p:cSld>
  <p:clrMapOvr>
    <a:masterClrMapping/>
  </p:clrMapOvr>
  <p:transition spd="slow" advTm="2000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4" name="TextBox 9">
            <a:extLst>
              <a:ext uri="{FF2B5EF4-FFF2-40B4-BE49-F238E27FC236}">
                <a16:creationId xmlns:a16="http://schemas.microsoft.com/office/drawing/2014/main" id="{7E4E485C-3E1A-3AE0-6608-C2F56770DF94}"/>
              </a:ext>
            </a:extLst>
          </p:cNvPr>
          <p:cNvSpPr txBox="1"/>
          <p:nvPr userDrawn="1"/>
        </p:nvSpPr>
        <p:spPr>
          <a:xfrm>
            <a:off x="1588617" y="4752020"/>
            <a:ext cx="432049" cy="118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lnSpc>
                <a:spcPct val="200000"/>
              </a:lnSpc>
            </a:pPr>
            <a:r>
              <a:rPr lang="en-US" altLang="zh-CN" sz="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"/>
              </a:rPr>
              <a:t>PPT</a:t>
            </a:r>
            <a:r>
              <a:rPr lang="zh-CN" altLang="en-US" sz="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hlinkClick r:id="rId2"/>
              </a:rPr>
              <a:t>下载</a:t>
            </a:r>
            <a:r>
              <a:rPr lang="zh-CN" altLang="en-US" sz="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10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ttp://www.1ppt.com/xiazai/</a:t>
            </a:r>
          </a:p>
        </p:txBody>
      </p:sp>
    </p:spTree>
    <p:extLst>
      <p:ext uri="{BB962C8B-B14F-4D97-AF65-F5344CB8AC3E}">
        <p14:creationId xmlns:p14="http://schemas.microsoft.com/office/powerpoint/2010/main" val="1197449442"/>
      </p:ext>
    </p:extLst>
  </p:cSld>
  <p:clrMapOvr>
    <a:masterClrMapping/>
  </p:clrMapOvr>
  <p:transition spd="slow" advTm="2000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4132980694"/>
      </p:ext>
    </p:extLst>
  </p:cSld>
  <p:clrMapOvr>
    <a:masterClrMapping/>
  </p:clrMapOvr>
  <p:transition spd="slow" advTm="2000">
    <p:wipe/>
  </p:transition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image" Target="../media/image1.jpeg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8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6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4" r:id="rId4"/>
    <p:sldLayoutId id="2147483655" r:id="rId5"/>
    <p:sldLayoutId id="2147483656" r:id="rId6"/>
    <p:sldLayoutId id="2147483657" r:id="rId7"/>
    <p:sldLayoutId id="2147483716" r:id="rId8"/>
    <p:sldLayoutId id="2147483658" r:id="rId9"/>
    <p:sldLayoutId id="2147483659" r:id="rId10"/>
    <p:sldLayoutId id="2147483660" r:id="rId11"/>
    <p:sldLayoutId id="2147483661" r:id="rId12"/>
    <p:sldLayoutId id="2147483662" r:id="rId13"/>
    <p:sldLayoutId id="2147483663" r:id="rId14"/>
    <p:sldLayoutId id="2147483664" r:id="rId15"/>
    <p:sldLayoutId id="2147483665" r:id="rId16"/>
    <p:sldLayoutId id="2147483666" r:id="rId17"/>
    <p:sldLayoutId id="2147483667" r:id="rId18"/>
    <p:sldLayoutId id="2147483668" r:id="rId19"/>
    <p:sldLayoutId id="2147483669" r:id="rId20"/>
    <p:sldLayoutId id="2147483670" r:id="rId21"/>
    <p:sldLayoutId id="2147483671" r:id="rId22"/>
    <p:sldLayoutId id="2147483672" r:id="rId23"/>
    <p:sldLayoutId id="2147483673" r:id="rId24"/>
    <p:sldLayoutId id="2147483674" r:id="rId25"/>
    <p:sldLayoutId id="2147483675" r:id="rId26"/>
    <p:sldLayoutId id="2147483676" r:id="rId27"/>
    <p:sldLayoutId id="2147483677" r:id="rId28"/>
    <p:sldLayoutId id="2147483678" r:id="rId29"/>
    <p:sldLayoutId id="2147483679" r:id="rId30"/>
    <p:sldLayoutId id="2147483680" r:id="rId31"/>
    <p:sldLayoutId id="2147483681" r:id="rId32"/>
    <p:sldLayoutId id="2147483682" r:id="rId33"/>
    <p:sldLayoutId id="2147483683" r:id="rId34"/>
    <p:sldLayoutId id="2147483684" r:id="rId35"/>
    <p:sldLayoutId id="2147483685" r:id="rId36"/>
    <p:sldLayoutId id="2147483686" r:id="rId37"/>
    <p:sldLayoutId id="2147483687" r:id="rId38"/>
    <p:sldLayoutId id="2147483688" r:id="rId39"/>
    <p:sldLayoutId id="2147483689" r:id="rId40"/>
    <p:sldLayoutId id="2147483690" r:id="rId41"/>
    <p:sldLayoutId id="2147483691" r:id="rId42"/>
    <p:sldLayoutId id="2147483692" r:id="rId43"/>
    <p:sldLayoutId id="2147483693" r:id="rId44"/>
    <p:sldLayoutId id="2147483694" r:id="rId45"/>
    <p:sldLayoutId id="2147483695" r:id="rId46"/>
    <p:sldLayoutId id="2147483696" r:id="rId47"/>
    <p:sldLayoutId id="2147483697" r:id="rId48"/>
    <p:sldLayoutId id="2147483698" r:id="rId49"/>
    <p:sldLayoutId id="2147483699" r:id="rId50"/>
    <p:sldLayoutId id="2147483700" r:id="rId51"/>
    <p:sldLayoutId id="2147483701" r:id="rId52"/>
    <p:sldLayoutId id="2147483702" r:id="rId53"/>
    <p:sldLayoutId id="2147483703" r:id="rId54"/>
    <p:sldLayoutId id="2147483704" r:id="rId55"/>
    <p:sldLayoutId id="2147483705" r:id="rId56"/>
    <p:sldLayoutId id="2147483706" r:id="rId57"/>
    <p:sldLayoutId id="2147483707" r:id="rId58"/>
    <p:sldLayoutId id="2147483708" r:id="rId59"/>
    <p:sldLayoutId id="2147483709" r:id="rId60"/>
    <p:sldLayoutId id="2147483710" r:id="rId61"/>
    <p:sldLayoutId id="2147483711" r:id="rId62"/>
    <p:sldLayoutId id="2147483652" r:id="rId63"/>
    <p:sldLayoutId id="2147483653" r:id="rId64"/>
    <p:sldLayoutId id="2147483717" r:id="rId65"/>
  </p:sldLayoutIdLst>
  <p:transition spd="slow" advTm="2000">
    <p:wipe/>
  </p:transition>
  <p:txStyles>
    <p:titleStyle>
      <a:lvl1pPr algn="ctr" defTabSz="913130" rtl="0" eaLnBrk="1" latinLnBrk="0" hangingPunct="1">
        <a:spcBef>
          <a:spcPct val="0"/>
        </a:spcBef>
        <a:buNone/>
        <a:defRPr sz="439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313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315" indent="-285750" algn="l" defTabSz="91313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365" indent="-228600" algn="l" defTabSz="91313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565" indent="-228600" algn="l" defTabSz="91313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130" indent="-228600" algn="l" defTabSz="91313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330" indent="-228600" algn="l" defTabSz="91313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30" indent="-228600" algn="l" defTabSz="91313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095" indent="-228600" algn="l" defTabSz="91313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295" indent="-228600" algn="l" defTabSz="91313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3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30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95" algn="l" defTabSz="9131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8725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64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1.jpeg"/><Relationship Id="rId9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16.png"/><Relationship Id="rId11" Type="http://schemas.openxmlformats.org/officeDocument/2006/relationships/image" Target="../media/image14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2.jpeg"/><Relationship Id="rId9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16.png"/><Relationship Id="rId11" Type="http://schemas.openxmlformats.org/officeDocument/2006/relationships/image" Target="../media/image14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2.jpeg"/><Relationship Id="rId9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64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.jpeg"/><Relationship Id="rId9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64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19.png"/><Relationship Id="rId5" Type="http://schemas.openxmlformats.org/officeDocument/2006/relationships/image" Target="../media/image4.png"/><Relationship Id="rId4" Type="http://schemas.openxmlformats.org/officeDocument/2006/relationships/image" Target="../media/image1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hyperlink" Target="https://twitter.com/freeppt7_com" TargetMode="External"/><Relationship Id="rId13" Type="http://schemas.openxmlformats.org/officeDocument/2006/relationships/hyperlink" Target="https://www.freeppt7.com/" TargetMode="External"/><Relationship Id="rId3" Type="http://schemas.openxmlformats.org/officeDocument/2006/relationships/image" Target="../media/image26.png"/><Relationship Id="rId7" Type="http://schemas.openxmlformats.org/officeDocument/2006/relationships/image" Target="../media/image28.png"/><Relationship Id="rId12" Type="http://schemas.openxmlformats.org/officeDocument/2006/relationships/hyperlink" Target="https://www.freeppt7.com/ggslide-school/" TargetMode="External"/><Relationship Id="rId2" Type="http://schemas.openxmlformats.org/officeDocument/2006/relationships/hyperlink" Target="https://www.facebook.com/freeppt7/" TargetMode="External"/><Relationship Id="rId1" Type="http://schemas.openxmlformats.org/officeDocument/2006/relationships/slideLayout" Target="../slideLayouts/slideLayout65.xml"/><Relationship Id="rId6" Type="http://schemas.openxmlformats.org/officeDocument/2006/relationships/hyperlink" Target="https://www.youtube.com/@Slidestemplatesfree" TargetMode="External"/><Relationship Id="rId11" Type="http://schemas.openxmlformats.org/officeDocument/2006/relationships/image" Target="../media/image30.png"/><Relationship Id="rId5" Type="http://schemas.openxmlformats.org/officeDocument/2006/relationships/image" Target="../media/image27.png"/><Relationship Id="rId10" Type="http://schemas.openxmlformats.org/officeDocument/2006/relationships/hyperlink" Target="https://www.linkedin.com/in/liu-kaiwei-b180991a9/" TargetMode="External"/><Relationship Id="rId4" Type="http://schemas.openxmlformats.org/officeDocument/2006/relationships/hyperlink" Target="https://www.instagram.com/slidesfree/" TargetMode="External"/><Relationship Id="rId9" Type="http://schemas.openxmlformats.org/officeDocument/2006/relationships/image" Target="../media/image29.png"/><Relationship Id="rId14" Type="http://schemas.openxmlformats.org/officeDocument/2006/relationships/hyperlink" Target="http://www.freeppt7.com/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6.png"/><Relationship Id="rId11" Type="http://schemas.openxmlformats.org/officeDocument/2006/relationships/image" Target="../media/image14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2.jpeg"/><Relationship Id="rId9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2.xml"/><Relationship Id="rId1" Type="http://schemas.openxmlformats.org/officeDocument/2006/relationships/themeOverride" Target="../theme/themeOverride4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21.png"/><Relationship Id="rId4" Type="http://schemas.openxmlformats.org/officeDocument/2006/relationships/tags" Target="../tags/tag4.xml"/><Relationship Id="rId9" Type="http://schemas.openxmlformats.org/officeDocument/2006/relationships/image" Target="../media/image1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16.png"/><Relationship Id="rId11" Type="http://schemas.openxmlformats.org/officeDocument/2006/relationships/image" Target="../media/image14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2.jpeg"/><Relationship Id="rId9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450" y="918766"/>
            <a:ext cx="7040398" cy="2568847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522003" y="3673829"/>
            <a:ext cx="1819239" cy="1382760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090620" y="1485347"/>
            <a:ext cx="67770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000" b="1" dirty="0">
                <a:solidFill>
                  <a:schemeClr val="accent2"/>
                </a:solidFill>
                <a:cs typeface="+mn-ea"/>
                <a:sym typeface="+mn-lt"/>
              </a:rPr>
              <a:t>Teaching Lesson Template</a:t>
            </a:r>
            <a:endParaRPr lang="zh-CN" altLang="en-US" sz="4000" b="1" dirty="0">
              <a:solidFill>
                <a:schemeClr val="accent2"/>
              </a:solidFill>
              <a:cs typeface="+mn-ea"/>
              <a:sym typeface="+mn-lt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2097601" y="2177786"/>
            <a:ext cx="4714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altLang="zh-CN" sz="2000" dirty="0">
                <a:solidFill>
                  <a:schemeClr val="accent5"/>
                </a:solidFill>
                <a:cs typeface="+mn-ea"/>
                <a:sym typeface="+mn-lt"/>
              </a:rPr>
              <a:t>Insert the Subtitle of Your Presentation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82250" y="1991570"/>
            <a:ext cx="6090520" cy="311254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6472" y="3802250"/>
            <a:ext cx="1442148" cy="1342838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2573" y="-24064"/>
            <a:ext cx="1246716" cy="3126555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204208" y="534719"/>
            <a:ext cx="623484" cy="697832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888"/>
          <a:stretch>
            <a:fillRect/>
          </a:stretch>
        </p:blipFill>
        <p:spPr>
          <a:xfrm flipH="1">
            <a:off x="7415181" y="-179370"/>
            <a:ext cx="1961147" cy="2196272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366"/>
          <a:stretch>
            <a:fillRect/>
          </a:stretch>
        </p:blipFill>
        <p:spPr>
          <a:xfrm>
            <a:off x="6427510" y="588747"/>
            <a:ext cx="1494312" cy="1402823"/>
          </a:xfrm>
          <a:prstGeom prst="rect">
            <a:avLst/>
          </a:prstGeom>
        </p:spPr>
      </p:pic>
      <p:sp>
        <p:nvSpPr>
          <p:cNvPr id="4" name="Rounded Rectangle 7">
            <a:extLst>
              <a:ext uri="{FF2B5EF4-FFF2-40B4-BE49-F238E27FC236}">
                <a16:creationId xmlns:a16="http://schemas.microsoft.com/office/drawing/2014/main" id="{D97D5730-863F-46ED-8A7C-5F3BCFD33C1C}"/>
              </a:ext>
            </a:extLst>
          </p:cNvPr>
          <p:cNvSpPr/>
          <p:nvPr/>
        </p:nvSpPr>
        <p:spPr>
          <a:xfrm>
            <a:off x="6916778" y="262545"/>
            <a:ext cx="1184933" cy="279972"/>
          </a:xfrm>
          <a:prstGeom prst="roundRect">
            <a:avLst>
              <a:gd name="adj" fmla="val 50000"/>
            </a:avLst>
          </a:prstGeom>
          <a:solidFill>
            <a:schemeClr val="bg1">
              <a:alpha val="0"/>
            </a:schemeClr>
          </a:solidFill>
          <a:ln w="15875">
            <a:solidFill>
              <a:srgbClr val="B1B5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000" dirty="0"/>
              <a:t>LOGO</a:t>
            </a:r>
            <a:endParaRPr lang="ko-KR" altLang="en-US" sz="2000" dirty="0"/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DD30F599-B579-968D-658D-494DB8545D0E}"/>
              </a:ext>
            </a:extLst>
          </p:cNvPr>
          <p:cNvGrpSpPr/>
          <p:nvPr/>
        </p:nvGrpSpPr>
        <p:grpSpPr>
          <a:xfrm>
            <a:off x="2857085" y="2750674"/>
            <a:ext cx="3734477" cy="314481"/>
            <a:chOff x="4414802" y="4745227"/>
            <a:chExt cx="3734477" cy="314481"/>
          </a:xfrm>
        </p:grpSpPr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8079B7DB-BA2A-7C35-398B-3BF60F6DBC46}"/>
                </a:ext>
              </a:extLst>
            </p:cNvPr>
            <p:cNvGrpSpPr/>
            <p:nvPr/>
          </p:nvGrpSpPr>
          <p:grpSpPr>
            <a:xfrm>
              <a:off x="6654696" y="4763888"/>
              <a:ext cx="290407" cy="290407"/>
              <a:chOff x="2633025" y="5543873"/>
              <a:chExt cx="290407" cy="290407"/>
            </a:xfrm>
            <a:solidFill>
              <a:schemeClr val="bg1"/>
            </a:solidFill>
          </p:grpSpPr>
          <p:sp>
            <p:nvSpPr>
              <p:cNvPr id="22" name="Oval 15">
                <a:extLst>
                  <a:ext uri="{FF2B5EF4-FFF2-40B4-BE49-F238E27FC236}">
                    <a16:creationId xmlns:a16="http://schemas.microsoft.com/office/drawing/2014/main" id="{8FAEE65A-C2F6-B614-9CCD-3E0D89C135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3025" y="5543873"/>
                <a:ext cx="290407" cy="290407"/>
              </a:xfrm>
              <a:prstGeom prst="ellipse">
                <a:avLst/>
              </a:prstGeom>
              <a:solidFill>
                <a:srgbClr val="44444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800">
                  <a:solidFill>
                    <a:srgbClr val="36396E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23" name="Group 16">
                <a:extLst>
                  <a:ext uri="{FF2B5EF4-FFF2-40B4-BE49-F238E27FC236}">
                    <a16:creationId xmlns:a16="http://schemas.microsoft.com/office/drawing/2014/main" id="{1FA8C63E-3870-40DD-7910-B8A2CD59CF7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726440" y="5588961"/>
                <a:ext cx="104062" cy="180353"/>
                <a:chOff x="4441" y="3117"/>
                <a:chExt cx="215" cy="372"/>
              </a:xfrm>
              <a:grpFill/>
            </p:grpSpPr>
            <p:sp>
              <p:nvSpPr>
                <p:cNvPr id="24" name="Freeform 17">
                  <a:extLst>
                    <a:ext uri="{FF2B5EF4-FFF2-40B4-BE49-F238E27FC236}">
                      <a16:creationId xmlns:a16="http://schemas.microsoft.com/office/drawing/2014/main" id="{B357C443-97BE-6562-0722-8F7A4307CB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74" y="3117"/>
                  <a:ext cx="149" cy="253"/>
                </a:xfrm>
                <a:custGeom>
                  <a:avLst/>
                  <a:gdLst>
                    <a:gd name="T0" fmla="*/ 31 w 63"/>
                    <a:gd name="T1" fmla="*/ 107 h 107"/>
                    <a:gd name="T2" fmla="*/ 63 w 63"/>
                    <a:gd name="T3" fmla="*/ 78 h 107"/>
                    <a:gd name="T4" fmla="*/ 63 w 63"/>
                    <a:gd name="T5" fmla="*/ 29 h 107"/>
                    <a:gd name="T6" fmla="*/ 31 w 63"/>
                    <a:gd name="T7" fmla="*/ 0 h 107"/>
                    <a:gd name="T8" fmla="*/ 0 w 63"/>
                    <a:gd name="T9" fmla="*/ 29 h 107"/>
                    <a:gd name="T10" fmla="*/ 0 w 63"/>
                    <a:gd name="T11" fmla="*/ 78 h 107"/>
                    <a:gd name="T12" fmla="*/ 31 w 63"/>
                    <a:gd name="T13" fmla="*/ 107 h 107"/>
                    <a:gd name="T14" fmla="*/ 10 w 63"/>
                    <a:gd name="T15" fmla="*/ 29 h 107"/>
                    <a:gd name="T16" fmla="*/ 31 w 63"/>
                    <a:gd name="T17" fmla="*/ 10 h 107"/>
                    <a:gd name="T18" fmla="*/ 53 w 63"/>
                    <a:gd name="T19" fmla="*/ 29 h 107"/>
                    <a:gd name="T20" fmla="*/ 53 w 63"/>
                    <a:gd name="T21" fmla="*/ 78 h 107"/>
                    <a:gd name="T22" fmla="*/ 31 w 63"/>
                    <a:gd name="T23" fmla="*/ 97 h 107"/>
                    <a:gd name="T24" fmla="*/ 10 w 63"/>
                    <a:gd name="T25" fmla="*/ 78 h 107"/>
                    <a:gd name="T26" fmla="*/ 10 w 63"/>
                    <a:gd name="T27" fmla="*/ 2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3" h="107">
                      <a:moveTo>
                        <a:pt x="31" y="107"/>
                      </a:moveTo>
                      <a:cubicBezTo>
                        <a:pt x="49" y="107"/>
                        <a:pt x="63" y="94"/>
                        <a:pt x="63" y="78"/>
                      </a:cubicBezTo>
                      <a:cubicBezTo>
                        <a:pt x="63" y="29"/>
                        <a:pt x="63" y="29"/>
                        <a:pt x="63" y="29"/>
                      </a:cubicBezTo>
                      <a:cubicBezTo>
                        <a:pt x="63" y="13"/>
                        <a:pt x="49" y="0"/>
                        <a:pt x="31" y="0"/>
                      </a:cubicBezTo>
                      <a:cubicBezTo>
                        <a:pt x="14" y="0"/>
                        <a:pt x="0" y="13"/>
                        <a:pt x="0" y="29"/>
                      </a:cubicBezTo>
                      <a:cubicBezTo>
                        <a:pt x="0" y="78"/>
                        <a:pt x="0" y="78"/>
                        <a:pt x="0" y="78"/>
                      </a:cubicBezTo>
                      <a:cubicBezTo>
                        <a:pt x="0" y="94"/>
                        <a:pt x="14" y="107"/>
                        <a:pt x="31" y="107"/>
                      </a:cubicBezTo>
                      <a:close/>
                      <a:moveTo>
                        <a:pt x="10" y="29"/>
                      </a:moveTo>
                      <a:cubicBezTo>
                        <a:pt x="10" y="18"/>
                        <a:pt x="19" y="10"/>
                        <a:pt x="31" y="10"/>
                      </a:cubicBezTo>
                      <a:cubicBezTo>
                        <a:pt x="43" y="10"/>
                        <a:pt x="53" y="18"/>
                        <a:pt x="53" y="29"/>
                      </a:cubicBezTo>
                      <a:cubicBezTo>
                        <a:pt x="53" y="78"/>
                        <a:pt x="53" y="78"/>
                        <a:pt x="53" y="78"/>
                      </a:cubicBezTo>
                      <a:cubicBezTo>
                        <a:pt x="53" y="88"/>
                        <a:pt x="43" y="97"/>
                        <a:pt x="31" y="97"/>
                      </a:cubicBezTo>
                      <a:cubicBezTo>
                        <a:pt x="19" y="97"/>
                        <a:pt x="10" y="88"/>
                        <a:pt x="10" y="78"/>
                      </a:cubicBezTo>
                      <a:lnTo>
                        <a:pt x="10" y="29"/>
                      </a:lnTo>
                      <a:close/>
                    </a:path>
                  </a:pathLst>
                </a:custGeom>
                <a:grpFill/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dist"/>
                  <a:endParaRPr lang="zh-CN" altLang="en-US" sz="1600">
                    <a:solidFill>
                      <a:srgbClr val="36396E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5" name="Freeform 18">
                  <a:extLst>
                    <a:ext uri="{FF2B5EF4-FFF2-40B4-BE49-F238E27FC236}">
                      <a16:creationId xmlns:a16="http://schemas.microsoft.com/office/drawing/2014/main" id="{B7247A5F-CF23-F4CF-1EE9-9E300641FA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41" y="3267"/>
                  <a:ext cx="215" cy="222"/>
                </a:xfrm>
                <a:custGeom>
                  <a:avLst/>
                  <a:gdLst>
                    <a:gd name="T0" fmla="*/ 86 w 91"/>
                    <a:gd name="T1" fmla="*/ 0 h 94"/>
                    <a:gd name="T2" fmla="*/ 81 w 91"/>
                    <a:gd name="T3" fmla="*/ 5 h 94"/>
                    <a:gd name="T4" fmla="*/ 81 w 91"/>
                    <a:gd name="T5" fmla="*/ 28 h 94"/>
                    <a:gd name="T6" fmla="*/ 45 w 91"/>
                    <a:gd name="T7" fmla="*/ 59 h 94"/>
                    <a:gd name="T8" fmla="*/ 10 w 91"/>
                    <a:gd name="T9" fmla="*/ 28 h 94"/>
                    <a:gd name="T10" fmla="*/ 10 w 91"/>
                    <a:gd name="T11" fmla="*/ 5 h 94"/>
                    <a:gd name="T12" fmla="*/ 5 w 91"/>
                    <a:gd name="T13" fmla="*/ 0 h 94"/>
                    <a:gd name="T14" fmla="*/ 0 w 91"/>
                    <a:gd name="T15" fmla="*/ 5 h 94"/>
                    <a:gd name="T16" fmla="*/ 0 w 91"/>
                    <a:gd name="T17" fmla="*/ 28 h 94"/>
                    <a:gd name="T18" fmla="*/ 40 w 91"/>
                    <a:gd name="T19" fmla="*/ 69 h 94"/>
                    <a:gd name="T20" fmla="*/ 40 w 91"/>
                    <a:gd name="T21" fmla="*/ 84 h 94"/>
                    <a:gd name="T22" fmla="*/ 20 w 91"/>
                    <a:gd name="T23" fmla="*/ 84 h 94"/>
                    <a:gd name="T24" fmla="*/ 15 w 91"/>
                    <a:gd name="T25" fmla="*/ 89 h 94"/>
                    <a:gd name="T26" fmla="*/ 20 w 91"/>
                    <a:gd name="T27" fmla="*/ 94 h 94"/>
                    <a:gd name="T28" fmla="*/ 70 w 91"/>
                    <a:gd name="T29" fmla="*/ 94 h 94"/>
                    <a:gd name="T30" fmla="*/ 75 w 91"/>
                    <a:gd name="T31" fmla="*/ 89 h 94"/>
                    <a:gd name="T32" fmla="*/ 70 w 91"/>
                    <a:gd name="T33" fmla="*/ 84 h 94"/>
                    <a:gd name="T34" fmla="*/ 50 w 91"/>
                    <a:gd name="T35" fmla="*/ 84 h 94"/>
                    <a:gd name="T36" fmla="*/ 50 w 91"/>
                    <a:gd name="T37" fmla="*/ 69 h 94"/>
                    <a:gd name="T38" fmla="*/ 91 w 91"/>
                    <a:gd name="T39" fmla="*/ 28 h 94"/>
                    <a:gd name="T40" fmla="*/ 91 w 91"/>
                    <a:gd name="T41" fmla="*/ 5 h 94"/>
                    <a:gd name="T42" fmla="*/ 86 w 91"/>
                    <a:gd name="T43" fmla="*/ 0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91" h="94">
                      <a:moveTo>
                        <a:pt x="86" y="0"/>
                      </a:moveTo>
                      <a:cubicBezTo>
                        <a:pt x="83" y="0"/>
                        <a:pt x="81" y="3"/>
                        <a:pt x="81" y="5"/>
                      </a:cubicBezTo>
                      <a:cubicBezTo>
                        <a:pt x="81" y="28"/>
                        <a:pt x="81" y="28"/>
                        <a:pt x="81" y="28"/>
                      </a:cubicBezTo>
                      <a:cubicBezTo>
                        <a:pt x="81" y="45"/>
                        <a:pt x="65" y="59"/>
                        <a:pt x="45" y="59"/>
                      </a:cubicBezTo>
                      <a:cubicBezTo>
                        <a:pt x="26" y="59"/>
                        <a:pt x="10" y="45"/>
                        <a:pt x="10" y="28"/>
                      </a:cubicBezTo>
                      <a:cubicBezTo>
                        <a:pt x="10" y="5"/>
                        <a:pt x="10" y="5"/>
                        <a:pt x="10" y="5"/>
                      </a:cubicBezTo>
                      <a:cubicBezTo>
                        <a:pt x="10" y="2"/>
                        <a:pt x="8" y="0"/>
                        <a:pt x="5" y="0"/>
                      </a:cubicBezTo>
                      <a:cubicBezTo>
                        <a:pt x="2" y="0"/>
                        <a:pt x="0" y="2"/>
                        <a:pt x="0" y="5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49"/>
                        <a:pt x="18" y="67"/>
                        <a:pt x="40" y="69"/>
                      </a:cubicBezTo>
                      <a:cubicBezTo>
                        <a:pt x="40" y="84"/>
                        <a:pt x="40" y="84"/>
                        <a:pt x="40" y="84"/>
                      </a:cubicBezTo>
                      <a:cubicBezTo>
                        <a:pt x="20" y="84"/>
                        <a:pt x="20" y="84"/>
                        <a:pt x="20" y="84"/>
                      </a:cubicBezTo>
                      <a:cubicBezTo>
                        <a:pt x="18" y="84"/>
                        <a:pt x="15" y="86"/>
                        <a:pt x="15" y="89"/>
                      </a:cubicBezTo>
                      <a:cubicBezTo>
                        <a:pt x="15" y="92"/>
                        <a:pt x="18" y="94"/>
                        <a:pt x="20" y="94"/>
                      </a:cubicBezTo>
                      <a:cubicBezTo>
                        <a:pt x="70" y="94"/>
                        <a:pt x="70" y="94"/>
                        <a:pt x="70" y="94"/>
                      </a:cubicBezTo>
                      <a:cubicBezTo>
                        <a:pt x="73" y="94"/>
                        <a:pt x="75" y="92"/>
                        <a:pt x="75" y="89"/>
                      </a:cubicBezTo>
                      <a:cubicBezTo>
                        <a:pt x="75" y="86"/>
                        <a:pt x="73" y="84"/>
                        <a:pt x="70" y="84"/>
                      </a:cubicBezTo>
                      <a:cubicBezTo>
                        <a:pt x="50" y="84"/>
                        <a:pt x="50" y="84"/>
                        <a:pt x="50" y="84"/>
                      </a:cubicBezTo>
                      <a:cubicBezTo>
                        <a:pt x="50" y="69"/>
                        <a:pt x="50" y="69"/>
                        <a:pt x="50" y="69"/>
                      </a:cubicBezTo>
                      <a:cubicBezTo>
                        <a:pt x="73" y="67"/>
                        <a:pt x="91" y="49"/>
                        <a:pt x="91" y="28"/>
                      </a:cubicBezTo>
                      <a:cubicBezTo>
                        <a:pt x="91" y="5"/>
                        <a:pt x="91" y="5"/>
                        <a:pt x="91" y="5"/>
                      </a:cubicBezTo>
                      <a:cubicBezTo>
                        <a:pt x="91" y="3"/>
                        <a:pt x="88" y="0"/>
                        <a:pt x="86" y="0"/>
                      </a:cubicBezTo>
                      <a:close/>
                    </a:path>
                  </a:pathLst>
                </a:custGeom>
                <a:grpFill/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dist"/>
                  <a:endParaRPr lang="zh-CN" altLang="en-US" sz="1600">
                    <a:solidFill>
                      <a:srgbClr val="36396E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B4F3C76A-509B-3FD8-B539-E53B972E3AA6}"/>
                </a:ext>
              </a:extLst>
            </p:cNvPr>
            <p:cNvGrpSpPr/>
            <p:nvPr/>
          </p:nvGrpSpPr>
          <p:grpSpPr>
            <a:xfrm>
              <a:off x="4414802" y="4745227"/>
              <a:ext cx="290407" cy="290407"/>
              <a:chOff x="732769" y="5535598"/>
              <a:chExt cx="290407" cy="290407"/>
            </a:xfrm>
            <a:solidFill>
              <a:schemeClr val="bg1"/>
            </a:solidFill>
          </p:grpSpPr>
          <p:sp>
            <p:nvSpPr>
              <p:cNvPr id="18" name="Oval 10">
                <a:extLst>
                  <a:ext uri="{FF2B5EF4-FFF2-40B4-BE49-F238E27FC236}">
                    <a16:creationId xmlns:a16="http://schemas.microsoft.com/office/drawing/2014/main" id="{2B574205-4545-A11A-3D6C-071379AF65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2769" y="5535598"/>
                <a:ext cx="290407" cy="290407"/>
              </a:xfrm>
              <a:prstGeom prst="ellipse">
                <a:avLst/>
              </a:prstGeom>
              <a:solidFill>
                <a:srgbClr val="44444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800" dirty="0">
                  <a:solidFill>
                    <a:srgbClr val="36396E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19" name="组合 18">
                <a:extLst>
                  <a:ext uri="{FF2B5EF4-FFF2-40B4-BE49-F238E27FC236}">
                    <a16:creationId xmlns:a16="http://schemas.microsoft.com/office/drawing/2014/main" id="{5A166DAF-ED7C-E853-969F-03EFC53203F5}"/>
                  </a:ext>
                </a:extLst>
              </p:cNvPr>
              <p:cNvGrpSpPr/>
              <p:nvPr/>
            </p:nvGrpSpPr>
            <p:grpSpPr>
              <a:xfrm>
                <a:off x="811795" y="5598991"/>
                <a:ext cx="132841" cy="151011"/>
                <a:chOff x="860980" y="3583766"/>
                <a:chExt cx="100336" cy="114060"/>
              </a:xfrm>
              <a:grpFill/>
            </p:grpSpPr>
            <p:sp>
              <p:nvSpPr>
                <p:cNvPr id="20" name="Freeform 12">
                  <a:extLst>
                    <a:ext uri="{FF2B5EF4-FFF2-40B4-BE49-F238E27FC236}">
                      <a16:creationId xmlns:a16="http://schemas.microsoft.com/office/drawing/2014/main" id="{4AA8011A-C452-48B5-4F52-561517347C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4050" y="3583766"/>
                  <a:ext cx="53830" cy="53740"/>
                </a:xfrm>
                <a:custGeom>
                  <a:avLst/>
                  <a:gdLst>
                    <a:gd name="T0" fmla="*/ 31 w 62"/>
                    <a:gd name="T1" fmla="*/ 62 h 62"/>
                    <a:gd name="T2" fmla="*/ 0 w 62"/>
                    <a:gd name="T3" fmla="*/ 31 h 62"/>
                    <a:gd name="T4" fmla="*/ 31 w 62"/>
                    <a:gd name="T5" fmla="*/ 0 h 62"/>
                    <a:gd name="T6" fmla="*/ 62 w 62"/>
                    <a:gd name="T7" fmla="*/ 31 h 62"/>
                    <a:gd name="T8" fmla="*/ 31 w 62"/>
                    <a:gd name="T9" fmla="*/ 62 h 62"/>
                    <a:gd name="T10" fmla="*/ 31 w 62"/>
                    <a:gd name="T11" fmla="*/ 11 h 62"/>
                    <a:gd name="T12" fmla="*/ 11 w 62"/>
                    <a:gd name="T13" fmla="*/ 31 h 62"/>
                    <a:gd name="T14" fmla="*/ 31 w 62"/>
                    <a:gd name="T15" fmla="*/ 51 h 62"/>
                    <a:gd name="T16" fmla="*/ 51 w 62"/>
                    <a:gd name="T17" fmla="*/ 31 h 62"/>
                    <a:gd name="T18" fmla="*/ 31 w 62"/>
                    <a:gd name="T19" fmla="*/ 11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2" h="62">
                      <a:moveTo>
                        <a:pt x="31" y="62"/>
                      </a:moveTo>
                      <a:cubicBezTo>
                        <a:pt x="14" y="62"/>
                        <a:pt x="0" y="48"/>
                        <a:pt x="0" y="31"/>
                      </a:cubicBezTo>
                      <a:cubicBezTo>
                        <a:pt x="0" y="14"/>
                        <a:pt x="14" y="0"/>
                        <a:pt x="31" y="0"/>
                      </a:cubicBezTo>
                      <a:cubicBezTo>
                        <a:pt x="48" y="0"/>
                        <a:pt x="62" y="14"/>
                        <a:pt x="62" y="31"/>
                      </a:cubicBezTo>
                      <a:cubicBezTo>
                        <a:pt x="62" y="48"/>
                        <a:pt x="48" y="62"/>
                        <a:pt x="31" y="62"/>
                      </a:cubicBezTo>
                      <a:close/>
                      <a:moveTo>
                        <a:pt x="31" y="11"/>
                      </a:moveTo>
                      <a:cubicBezTo>
                        <a:pt x="20" y="11"/>
                        <a:pt x="11" y="20"/>
                        <a:pt x="11" y="31"/>
                      </a:cubicBezTo>
                      <a:cubicBezTo>
                        <a:pt x="11" y="42"/>
                        <a:pt x="20" y="51"/>
                        <a:pt x="31" y="51"/>
                      </a:cubicBezTo>
                      <a:cubicBezTo>
                        <a:pt x="42" y="51"/>
                        <a:pt x="51" y="42"/>
                        <a:pt x="51" y="31"/>
                      </a:cubicBezTo>
                      <a:cubicBezTo>
                        <a:pt x="51" y="20"/>
                        <a:pt x="42" y="11"/>
                        <a:pt x="31" y="11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dist"/>
                  <a:endParaRPr lang="zh-CN" altLang="en-US" sz="1600">
                    <a:solidFill>
                      <a:srgbClr val="36396E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1" name="Freeform 13">
                  <a:extLst>
                    <a:ext uri="{FF2B5EF4-FFF2-40B4-BE49-F238E27FC236}">
                      <a16:creationId xmlns:a16="http://schemas.microsoft.com/office/drawing/2014/main" id="{D69B17BA-F701-E669-EBBB-8C24024C89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0980" y="3643355"/>
                  <a:ext cx="100336" cy="54471"/>
                </a:xfrm>
                <a:custGeom>
                  <a:avLst/>
                  <a:gdLst>
                    <a:gd name="T0" fmla="*/ 111 w 116"/>
                    <a:gd name="T1" fmla="*/ 63 h 63"/>
                    <a:gd name="T2" fmla="*/ 105 w 116"/>
                    <a:gd name="T3" fmla="*/ 58 h 63"/>
                    <a:gd name="T4" fmla="*/ 58 w 116"/>
                    <a:gd name="T5" fmla="*/ 11 h 63"/>
                    <a:gd name="T6" fmla="*/ 11 w 116"/>
                    <a:gd name="T7" fmla="*/ 58 h 63"/>
                    <a:gd name="T8" fmla="*/ 6 w 116"/>
                    <a:gd name="T9" fmla="*/ 63 h 63"/>
                    <a:gd name="T10" fmla="*/ 0 w 116"/>
                    <a:gd name="T11" fmla="*/ 58 h 63"/>
                    <a:gd name="T12" fmla="*/ 58 w 116"/>
                    <a:gd name="T13" fmla="*/ 0 h 63"/>
                    <a:gd name="T14" fmla="*/ 116 w 116"/>
                    <a:gd name="T15" fmla="*/ 58 h 63"/>
                    <a:gd name="T16" fmla="*/ 111 w 116"/>
                    <a:gd name="T17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6" h="63">
                      <a:moveTo>
                        <a:pt x="111" y="63"/>
                      </a:moveTo>
                      <a:cubicBezTo>
                        <a:pt x="108" y="63"/>
                        <a:pt x="105" y="61"/>
                        <a:pt x="105" y="58"/>
                      </a:cubicBezTo>
                      <a:cubicBezTo>
                        <a:pt x="105" y="32"/>
                        <a:pt x="84" y="11"/>
                        <a:pt x="58" y="11"/>
                      </a:cubicBezTo>
                      <a:cubicBezTo>
                        <a:pt x="32" y="11"/>
                        <a:pt x="11" y="32"/>
                        <a:pt x="11" y="58"/>
                      </a:cubicBezTo>
                      <a:cubicBezTo>
                        <a:pt x="11" y="61"/>
                        <a:pt x="9" y="63"/>
                        <a:pt x="6" y="63"/>
                      </a:cubicBezTo>
                      <a:cubicBezTo>
                        <a:pt x="3" y="63"/>
                        <a:pt x="0" y="61"/>
                        <a:pt x="0" y="58"/>
                      </a:cubicBezTo>
                      <a:cubicBezTo>
                        <a:pt x="0" y="26"/>
                        <a:pt x="26" y="0"/>
                        <a:pt x="58" y="0"/>
                      </a:cubicBezTo>
                      <a:cubicBezTo>
                        <a:pt x="90" y="0"/>
                        <a:pt x="116" y="26"/>
                        <a:pt x="116" y="58"/>
                      </a:cubicBezTo>
                      <a:cubicBezTo>
                        <a:pt x="116" y="61"/>
                        <a:pt x="114" y="63"/>
                        <a:pt x="111" y="63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dist"/>
                  <a:endParaRPr lang="zh-CN" altLang="en-US" sz="1600">
                    <a:solidFill>
                      <a:srgbClr val="36396E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16" name="Text Box 20">
              <a:extLst>
                <a:ext uri="{FF2B5EF4-FFF2-40B4-BE49-F238E27FC236}">
                  <a16:creationId xmlns:a16="http://schemas.microsoft.com/office/drawing/2014/main" id="{1B2451FE-1856-9320-7F65-BB937B06AD3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945103" y="4751931"/>
              <a:ext cx="1204176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400" dirty="0">
                  <a:solidFill>
                    <a:srgbClr val="36396E"/>
                  </a:solidFill>
                  <a:cs typeface="+mn-ea"/>
                  <a:sym typeface="+mn-lt"/>
                </a:rPr>
                <a:t>XX.XX.20XX</a:t>
              </a:r>
              <a:endParaRPr lang="zh-CN" altLang="en-US" sz="1400" dirty="0">
                <a:solidFill>
                  <a:srgbClr val="36396E"/>
                </a:solidFill>
                <a:cs typeface="+mn-ea"/>
                <a:sym typeface="+mn-lt"/>
              </a:endParaRPr>
            </a:p>
          </p:txBody>
        </p:sp>
        <p:sp>
          <p:nvSpPr>
            <p:cNvPr id="17" name="矩形 16">
              <a:extLst>
                <a:ext uri="{FF2B5EF4-FFF2-40B4-BE49-F238E27FC236}">
                  <a16:creationId xmlns:a16="http://schemas.microsoft.com/office/drawing/2014/main" id="{2E5A2009-5EBE-54BA-6979-757421D090F4}"/>
                </a:ext>
              </a:extLst>
            </p:cNvPr>
            <p:cNvSpPr/>
            <p:nvPr/>
          </p:nvSpPr>
          <p:spPr>
            <a:xfrm>
              <a:off x="4705028" y="4751931"/>
              <a:ext cx="1994457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400" dirty="0">
                  <a:solidFill>
                    <a:srgbClr val="36396E"/>
                  </a:solidFill>
                  <a:cs typeface="+mn-ea"/>
                  <a:sym typeface="+mn-lt"/>
                </a:rPr>
                <a:t>Report </a:t>
              </a:r>
              <a:r>
                <a:rPr lang="zh-CN" altLang="en-US" sz="1400" dirty="0">
                  <a:solidFill>
                    <a:srgbClr val="36396E"/>
                  </a:solidFill>
                  <a:cs typeface="+mn-ea"/>
                  <a:sym typeface="+mn-lt"/>
                </a:rPr>
                <a:t>：</a:t>
              </a:r>
              <a:r>
                <a:rPr lang="en-US" altLang="zh-CN" sz="1400" dirty="0">
                  <a:solidFill>
                    <a:srgbClr val="36396E"/>
                  </a:solidFill>
                  <a:cs typeface="+mn-ea"/>
                  <a:sym typeface="+mn-lt"/>
                </a:rPr>
                <a:t>freeppt7.com</a:t>
              </a:r>
              <a:endParaRPr lang="zh-CN" altLang="en-US" sz="1400" dirty="0">
                <a:solidFill>
                  <a:srgbClr val="36396E"/>
                </a:solidFill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50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9" presetClass="entr" presetSubtype="0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31"/>
          <p:cNvSpPr txBox="1"/>
          <p:nvPr/>
        </p:nvSpPr>
        <p:spPr>
          <a:xfrm>
            <a:off x="1967706" y="131987"/>
            <a:ext cx="5208588" cy="5847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defPPr>
              <a:defRPr lang="zh-CN"/>
            </a:defPPr>
            <a:lvl1pPr lvl="0">
              <a:defRPr sz="3600" b="1">
                <a:solidFill>
                  <a:schemeClr val="accent2"/>
                </a:solidFill>
                <a:cs typeface="+mn-ea"/>
              </a:defRPr>
            </a:lvl1pPr>
          </a:lstStyle>
          <a:p>
            <a:pPr algn="ctr"/>
            <a:r>
              <a:rPr lang="en-US" altLang="zh-CN" sz="3200" dirty="0">
                <a:sym typeface="+mn-lt"/>
              </a:rPr>
              <a:t>Instructional Design</a:t>
            </a:r>
            <a:endParaRPr lang="zh-CN" altLang="en-US" sz="3200" dirty="0">
              <a:sym typeface="+mn-lt"/>
            </a:endParaRPr>
          </a:p>
        </p:txBody>
      </p:sp>
      <p:sp>
        <p:nvSpPr>
          <p:cNvPr id="3" name="Rectangle 17"/>
          <p:cNvSpPr/>
          <p:nvPr/>
        </p:nvSpPr>
        <p:spPr bwMode="auto">
          <a:xfrm>
            <a:off x="976425" y="2076983"/>
            <a:ext cx="1473502" cy="2445300"/>
          </a:xfrm>
          <a:prstGeom prst="rect">
            <a:avLst/>
          </a:prstGeom>
          <a:solidFill>
            <a:srgbClr val="ADACC8"/>
          </a:solidFill>
          <a:ln w="9525" cap="flat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algn="ctr" defTabSz="72453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195" kern="0">
              <a:solidFill>
                <a:srgbClr val="1091D2"/>
              </a:solidFill>
              <a:cs typeface="+mn-ea"/>
              <a:sym typeface="+mn-lt"/>
            </a:endParaRPr>
          </a:p>
        </p:txBody>
      </p:sp>
      <p:sp>
        <p:nvSpPr>
          <p:cNvPr id="4" name="Rectangle 17"/>
          <p:cNvSpPr/>
          <p:nvPr/>
        </p:nvSpPr>
        <p:spPr bwMode="auto">
          <a:xfrm>
            <a:off x="2926976" y="2076983"/>
            <a:ext cx="1473502" cy="2445300"/>
          </a:xfrm>
          <a:prstGeom prst="rect">
            <a:avLst/>
          </a:prstGeom>
          <a:solidFill>
            <a:srgbClr val="D9D9D9"/>
          </a:solidFill>
          <a:ln w="9525" cap="flat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algn="ctr" defTabSz="724535" fontAlgn="base">
              <a:spcBef>
                <a:spcPct val="0"/>
              </a:spcBef>
              <a:spcAft>
                <a:spcPct val="0"/>
              </a:spcAft>
            </a:pPr>
            <a:endParaRPr lang="en-US" sz="2195">
              <a:solidFill>
                <a:srgbClr val="1091D2"/>
              </a:solidFill>
              <a:cs typeface="+mn-ea"/>
              <a:sym typeface="+mn-lt"/>
            </a:endParaRPr>
          </a:p>
        </p:txBody>
      </p:sp>
      <p:sp>
        <p:nvSpPr>
          <p:cNvPr id="5" name="Rectangle 17"/>
          <p:cNvSpPr/>
          <p:nvPr/>
        </p:nvSpPr>
        <p:spPr bwMode="auto">
          <a:xfrm>
            <a:off x="4934805" y="2076983"/>
            <a:ext cx="1473502" cy="2445300"/>
          </a:xfrm>
          <a:prstGeom prst="rect">
            <a:avLst/>
          </a:prstGeom>
          <a:solidFill>
            <a:srgbClr val="ADACC8"/>
          </a:solidFill>
          <a:ln w="9525" cap="flat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algn="ctr" defTabSz="72453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195" kern="0">
              <a:solidFill>
                <a:srgbClr val="1091D2"/>
              </a:solidFill>
              <a:cs typeface="+mn-ea"/>
              <a:sym typeface="+mn-lt"/>
            </a:endParaRPr>
          </a:p>
        </p:txBody>
      </p:sp>
      <p:sp>
        <p:nvSpPr>
          <p:cNvPr id="14" name="Rectangle 17"/>
          <p:cNvSpPr/>
          <p:nvPr/>
        </p:nvSpPr>
        <p:spPr bwMode="auto">
          <a:xfrm>
            <a:off x="6868994" y="2076983"/>
            <a:ext cx="1473502" cy="2445300"/>
          </a:xfrm>
          <a:prstGeom prst="rect">
            <a:avLst/>
          </a:prstGeom>
          <a:solidFill>
            <a:srgbClr val="B1B5E1"/>
          </a:solidFill>
          <a:ln w="9525" cap="flat">
            <a:noFill/>
            <a:prstDash val="solid"/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pPr algn="ctr" defTabSz="724535" fontAlgn="base">
              <a:spcBef>
                <a:spcPct val="0"/>
              </a:spcBef>
              <a:spcAft>
                <a:spcPct val="0"/>
              </a:spcAft>
            </a:pPr>
            <a:endParaRPr lang="en-US" sz="2195">
              <a:solidFill>
                <a:srgbClr val="1091D2"/>
              </a:solidFill>
              <a:cs typeface="+mn-ea"/>
              <a:sym typeface="+mn-lt"/>
            </a:endParaRPr>
          </a:p>
        </p:txBody>
      </p:sp>
      <p:sp>
        <p:nvSpPr>
          <p:cNvPr id="15" name="Rectangle 20"/>
          <p:cNvSpPr/>
          <p:nvPr/>
        </p:nvSpPr>
        <p:spPr bwMode="auto">
          <a:xfrm>
            <a:off x="1099815" y="3531284"/>
            <a:ext cx="1217841" cy="792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t"/>
          <a:lstStyle/>
          <a:p>
            <a:pPr algn="ctr" defTabSz="724535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100" dirty="0">
                <a:solidFill>
                  <a:srgbClr val="FFFFFF"/>
                </a:solidFill>
                <a:cs typeface="+mn-ea"/>
                <a:sym typeface="+mn-lt"/>
              </a:rPr>
              <a:t>Click here to add content, content to match the title. </a:t>
            </a:r>
            <a:endParaRPr lang="en-US" sz="900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8" name="Rectangle 21"/>
          <p:cNvSpPr/>
          <p:nvPr/>
        </p:nvSpPr>
        <p:spPr bwMode="auto">
          <a:xfrm>
            <a:off x="1155171" y="3221636"/>
            <a:ext cx="1107130" cy="195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defTabSz="72453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300" dirty="0">
                <a:solidFill>
                  <a:srgbClr val="FFFFFF"/>
                </a:solidFill>
                <a:cs typeface="+mn-ea"/>
                <a:sym typeface="+mn-lt"/>
              </a:rPr>
              <a:t>Add title text</a:t>
            </a:r>
          </a:p>
        </p:txBody>
      </p:sp>
      <p:sp>
        <p:nvSpPr>
          <p:cNvPr id="34" name="Rectangle 23"/>
          <p:cNvSpPr/>
          <p:nvPr/>
        </p:nvSpPr>
        <p:spPr bwMode="auto">
          <a:xfrm>
            <a:off x="3110160" y="3221636"/>
            <a:ext cx="1107130" cy="195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defTabSz="72453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300" dirty="0">
                <a:solidFill>
                  <a:srgbClr val="FFFFFF"/>
                </a:solidFill>
                <a:cs typeface="+mn-ea"/>
                <a:sym typeface="+mn-lt"/>
              </a:rPr>
              <a:t>Add title text</a:t>
            </a:r>
          </a:p>
        </p:txBody>
      </p:sp>
      <p:sp>
        <p:nvSpPr>
          <p:cNvPr id="35" name="Rectangle 25"/>
          <p:cNvSpPr/>
          <p:nvPr/>
        </p:nvSpPr>
        <p:spPr bwMode="auto">
          <a:xfrm>
            <a:off x="5120282" y="3221636"/>
            <a:ext cx="1107130" cy="195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defTabSz="72453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300" dirty="0">
                <a:solidFill>
                  <a:srgbClr val="FFFFFF"/>
                </a:solidFill>
                <a:cs typeface="+mn-ea"/>
                <a:sym typeface="+mn-lt"/>
              </a:rPr>
              <a:t>Add title text</a:t>
            </a:r>
          </a:p>
        </p:txBody>
      </p:sp>
      <p:sp>
        <p:nvSpPr>
          <p:cNvPr id="36" name="Rectangle 27"/>
          <p:cNvSpPr/>
          <p:nvPr/>
        </p:nvSpPr>
        <p:spPr bwMode="auto">
          <a:xfrm>
            <a:off x="7064864" y="3221636"/>
            <a:ext cx="1107130" cy="195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defTabSz="724535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300" dirty="0">
                <a:solidFill>
                  <a:srgbClr val="FFFFFF"/>
                </a:solidFill>
                <a:cs typeface="+mn-ea"/>
                <a:sym typeface="+mn-lt"/>
              </a:rPr>
              <a:t>Add title text</a:t>
            </a:r>
          </a:p>
        </p:txBody>
      </p:sp>
      <p:sp>
        <p:nvSpPr>
          <p:cNvPr id="37" name="Rectangle 20"/>
          <p:cNvSpPr/>
          <p:nvPr/>
        </p:nvSpPr>
        <p:spPr bwMode="auto">
          <a:xfrm>
            <a:off x="3054806" y="3531284"/>
            <a:ext cx="1217841" cy="792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t"/>
          <a:lstStyle/>
          <a:p>
            <a:pPr algn="ctr" defTabSz="724535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200" dirty="0">
                <a:solidFill>
                  <a:srgbClr val="FFFFFF"/>
                </a:solidFill>
                <a:cs typeface="+mn-ea"/>
                <a:sym typeface="+mn-lt"/>
              </a:rPr>
              <a:t>Click here to add content, content to match the title. </a:t>
            </a:r>
            <a:endParaRPr lang="en-US" sz="1200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8" name="Rectangle 20"/>
          <p:cNvSpPr/>
          <p:nvPr/>
        </p:nvSpPr>
        <p:spPr bwMode="auto">
          <a:xfrm>
            <a:off x="5064927" y="3531284"/>
            <a:ext cx="1217841" cy="792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t"/>
          <a:lstStyle/>
          <a:p>
            <a:pPr algn="ctr" defTabSz="724535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200" dirty="0">
                <a:solidFill>
                  <a:srgbClr val="FFFFFF"/>
                </a:solidFill>
                <a:cs typeface="+mn-ea"/>
                <a:sym typeface="+mn-lt"/>
              </a:rPr>
              <a:t>Click here to add content, content to match the title. </a:t>
            </a:r>
            <a:endParaRPr lang="en-US" sz="1200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39" name="Rectangle 20"/>
          <p:cNvSpPr/>
          <p:nvPr/>
        </p:nvSpPr>
        <p:spPr bwMode="auto">
          <a:xfrm>
            <a:off x="7009509" y="3531284"/>
            <a:ext cx="1217841" cy="792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t"/>
          <a:lstStyle/>
          <a:p>
            <a:pPr algn="ctr" defTabSz="724535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200" dirty="0">
                <a:solidFill>
                  <a:srgbClr val="FFFFFF"/>
                </a:solidFill>
                <a:cs typeface="+mn-ea"/>
                <a:sym typeface="+mn-lt"/>
              </a:rPr>
              <a:t>Click here to add content, content to match the title. </a:t>
            </a:r>
            <a:endParaRPr lang="en-US" sz="1200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grpSp>
        <p:nvGrpSpPr>
          <p:cNvPr id="40" name="Group 2"/>
          <p:cNvGrpSpPr/>
          <p:nvPr/>
        </p:nvGrpSpPr>
        <p:grpSpPr>
          <a:xfrm>
            <a:off x="3352859" y="2278820"/>
            <a:ext cx="682955" cy="675131"/>
            <a:chOff x="3291510" y="2125758"/>
            <a:chExt cx="675409" cy="675951"/>
          </a:xfrm>
        </p:grpSpPr>
        <p:sp>
          <p:nvSpPr>
            <p:cNvPr id="41" name="Oval 7"/>
            <p:cNvSpPr/>
            <p:nvPr/>
          </p:nvSpPr>
          <p:spPr bwMode="auto">
            <a:xfrm>
              <a:off x="3291510" y="2125758"/>
              <a:ext cx="675409" cy="675951"/>
            </a:xfrm>
            <a:prstGeom prst="ellipse">
              <a:avLst/>
            </a:pr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>
                      <a:alpha val="89999"/>
                    </a:srgbClr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algn="ctr" defTabSz="72453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195" kern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  <p:sp>
          <p:nvSpPr>
            <p:cNvPr id="42" name="Freeform 6"/>
            <p:cNvSpPr>
              <a:spLocks noEditPoints="1"/>
            </p:cNvSpPr>
            <p:nvPr/>
          </p:nvSpPr>
          <p:spPr bwMode="auto">
            <a:xfrm>
              <a:off x="3437830" y="2341712"/>
              <a:ext cx="385407" cy="256486"/>
            </a:xfrm>
            <a:custGeom>
              <a:avLst/>
              <a:gdLst>
                <a:gd name="T0" fmla="*/ 176 w 176"/>
                <a:gd name="T1" fmla="*/ 99 h 117"/>
                <a:gd name="T2" fmla="*/ 176 w 176"/>
                <a:gd name="T3" fmla="*/ 108 h 117"/>
                <a:gd name="T4" fmla="*/ 161 w 176"/>
                <a:gd name="T5" fmla="*/ 117 h 117"/>
                <a:gd name="T6" fmla="*/ 15 w 176"/>
                <a:gd name="T7" fmla="*/ 117 h 117"/>
                <a:gd name="T8" fmla="*/ 0 w 176"/>
                <a:gd name="T9" fmla="*/ 108 h 117"/>
                <a:gd name="T10" fmla="*/ 0 w 176"/>
                <a:gd name="T11" fmla="*/ 99 h 117"/>
                <a:gd name="T12" fmla="*/ 15 w 176"/>
                <a:gd name="T13" fmla="*/ 99 h 117"/>
                <a:gd name="T14" fmla="*/ 161 w 176"/>
                <a:gd name="T15" fmla="*/ 99 h 117"/>
                <a:gd name="T16" fmla="*/ 176 w 176"/>
                <a:gd name="T17" fmla="*/ 99 h 117"/>
                <a:gd name="T18" fmla="*/ 24 w 176"/>
                <a:gd name="T19" fmla="*/ 79 h 117"/>
                <a:gd name="T20" fmla="*/ 24 w 176"/>
                <a:gd name="T21" fmla="*/ 14 h 117"/>
                <a:gd name="T22" fmla="*/ 38 w 176"/>
                <a:gd name="T23" fmla="*/ 0 h 117"/>
                <a:gd name="T24" fmla="*/ 138 w 176"/>
                <a:gd name="T25" fmla="*/ 0 h 117"/>
                <a:gd name="T26" fmla="*/ 152 w 176"/>
                <a:gd name="T27" fmla="*/ 14 h 117"/>
                <a:gd name="T28" fmla="*/ 152 w 176"/>
                <a:gd name="T29" fmla="*/ 79 h 117"/>
                <a:gd name="T30" fmla="*/ 138 w 176"/>
                <a:gd name="T31" fmla="*/ 93 h 117"/>
                <a:gd name="T32" fmla="*/ 38 w 176"/>
                <a:gd name="T33" fmla="*/ 93 h 117"/>
                <a:gd name="T34" fmla="*/ 24 w 176"/>
                <a:gd name="T35" fmla="*/ 79 h 117"/>
                <a:gd name="T36" fmla="*/ 35 w 176"/>
                <a:gd name="T37" fmla="*/ 79 h 117"/>
                <a:gd name="T38" fmla="*/ 38 w 176"/>
                <a:gd name="T39" fmla="*/ 82 h 117"/>
                <a:gd name="T40" fmla="*/ 138 w 176"/>
                <a:gd name="T41" fmla="*/ 82 h 117"/>
                <a:gd name="T42" fmla="*/ 141 w 176"/>
                <a:gd name="T43" fmla="*/ 79 h 117"/>
                <a:gd name="T44" fmla="*/ 141 w 176"/>
                <a:gd name="T45" fmla="*/ 14 h 117"/>
                <a:gd name="T46" fmla="*/ 138 w 176"/>
                <a:gd name="T47" fmla="*/ 11 h 117"/>
                <a:gd name="T48" fmla="*/ 38 w 176"/>
                <a:gd name="T49" fmla="*/ 11 h 117"/>
                <a:gd name="T50" fmla="*/ 35 w 176"/>
                <a:gd name="T51" fmla="*/ 14 h 117"/>
                <a:gd name="T52" fmla="*/ 35 w 176"/>
                <a:gd name="T53" fmla="*/ 79 h 117"/>
                <a:gd name="T54" fmla="*/ 97 w 176"/>
                <a:gd name="T55" fmla="*/ 107 h 117"/>
                <a:gd name="T56" fmla="*/ 95 w 176"/>
                <a:gd name="T57" fmla="*/ 105 h 117"/>
                <a:gd name="T58" fmla="*/ 81 w 176"/>
                <a:gd name="T59" fmla="*/ 105 h 117"/>
                <a:gd name="T60" fmla="*/ 79 w 176"/>
                <a:gd name="T61" fmla="*/ 107 h 117"/>
                <a:gd name="T62" fmla="*/ 81 w 176"/>
                <a:gd name="T63" fmla="*/ 108 h 117"/>
                <a:gd name="T64" fmla="*/ 95 w 176"/>
                <a:gd name="T65" fmla="*/ 108 h 117"/>
                <a:gd name="T66" fmla="*/ 97 w 176"/>
                <a:gd name="T67" fmla="*/ 10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6" h="117">
                  <a:moveTo>
                    <a:pt x="176" y="99"/>
                  </a:moveTo>
                  <a:cubicBezTo>
                    <a:pt x="176" y="108"/>
                    <a:pt x="176" y="108"/>
                    <a:pt x="176" y="108"/>
                  </a:cubicBezTo>
                  <a:cubicBezTo>
                    <a:pt x="176" y="113"/>
                    <a:pt x="169" y="117"/>
                    <a:pt x="161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7" y="117"/>
                    <a:pt x="0" y="113"/>
                    <a:pt x="0" y="108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61" y="99"/>
                    <a:pt x="161" y="99"/>
                    <a:pt x="161" y="99"/>
                  </a:cubicBezTo>
                  <a:lnTo>
                    <a:pt x="176" y="99"/>
                  </a:lnTo>
                  <a:close/>
                  <a:moveTo>
                    <a:pt x="24" y="79"/>
                  </a:moveTo>
                  <a:cubicBezTo>
                    <a:pt x="24" y="14"/>
                    <a:pt x="24" y="14"/>
                    <a:pt x="24" y="14"/>
                  </a:cubicBezTo>
                  <a:cubicBezTo>
                    <a:pt x="24" y="6"/>
                    <a:pt x="30" y="0"/>
                    <a:pt x="38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6" y="0"/>
                    <a:pt x="152" y="6"/>
                    <a:pt x="152" y="14"/>
                  </a:cubicBezTo>
                  <a:cubicBezTo>
                    <a:pt x="152" y="79"/>
                    <a:pt x="152" y="79"/>
                    <a:pt x="152" y="79"/>
                  </a:cubicBezTo>
                  <a:cubicBezTo>
                    <a:pt x="152" y="87"/>
                    <a:pt x="146" y="93"/>
                    <a:pt x="138" y="93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0" y="93"/>
                    <a:pt x="24" y="87"/>
                    <a:pt x="24" y="79"/>
                  </a:cubicBezTo>
                  <a:close/>
                  <a:moveTo>
                    <a:pt x="35" y="79"/>
                  </a:moveTo>
                  <a:cubicBezTo>
                    <a:pt x="35" y="80"/>
                    <a:pt x="37" y="82"/>
                    <a:pt x="38" y="82"/>
                  </a:cubicBezTo>
                  <a:cubicBezTo>
                    <a:pt x="138" y="82"/>
                    <a:pt x="138" y="82"/>
                    <a:pt x="138" y="82"/>
                  </a:cubicBezTo>
                  <a:cubicBezTo>
                    <a:pt x="139" y="82"/>
                    <a:pt x="141" y="80"/>
                    <a:pt x="141" y="79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3"/>
                    <a:pt x="139" y="11"/>
                    <a:pt x="138" y="11"/>
                  </a:cubicBezTo>
                  <a:cubicBezTo>
                    <a:pt x="38" y="11"/>
                    <a:pt x="38" y="11"/>
                    <a:pt x="38" y="11"/>
                  </a:cubicBezTo>
                  <a:cubicBezTo>
                    <a:pt x="37" y="11"/>
                    <a:pt x="35" y="13"/>
                    <a:pt x="35" y="14"/>
                  </a:cubicBezTo>
                  <a:lnTo>
                    <a:pt x="35" y="79"/>
                  </a:lnTo>
                  <a:close/>
                  <a:moveTo>
                    <a:pt x="97" y="107"/>
                  </a:moveTo>
                  <a:cubicBezTo>
                    <a:pt x="97" y="106"/>
                    <a:pt x="96" y="105"/>
                    <a:pt x="95" y="105"/>
                  </a:cubicBezTo>
                  <a:cubicBezTo>
                    <a:pt x="81" y="105"/>
                    <a:pt x="81" y="105"/>
                    <a:pt x="81" y="105"/>
                  </a:cubicBezTo>
                  <a:cubicBezTo>
                    <a:pt x="80" y="105"/>
                    <a:pt x="79" y="106"/>
                    <a:pt x="79" y="107"/>
                  </a:cubicBezTo>
                  <a:cubicBezTo>
                    <a:pt x="79" y="107"/>
                    <a:pt x="80" y="108"/>
                    <a:pt x="81" y="108"/>
                  </a:cubicBezTo>
                  <a:cubicBezTo>
                    <a:pt x="95" y="108"/>
                    <a:pt x="95" y="108"/>
                    <a:pt x="95" y="108"/>
                  </a:cubicBezTo>
                  <a:cubicBezTo>
                    <a:pt x="96" y="108"/>
                    <a:pt x="97" y="107"/>
                    <a:pt x="97" y="107"/>
                  </a:cubicBezTo>
                  <a:close/>
                </a:path>
              </a:pathLst>
            </a:custGeom>
            <a:solidFill>
              <a:srgbClr val="E8D2A2"/>
            </a:solidFill>
            <a:ln>
              <a:noFill/>
            </a:ln>
          </p:spPr>
          <p:txBody>
            <a:bodyPr vert="horz" wrap="square" lIns="91330" tIns="45664" rIns="91330" bIns="45664" numCol="1" anchor="t" anchorCtr="0" compatLnSpc="1"/>
            <a:lstStyle/>
            <a:p>
              <a:pPr algn="ctr" defTabSz="72453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195" kern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43" name="Group 4"/>
          <p:cNvGrpSpPr/>
          <p:nvPr/>
        </p:nvGrpSpPr>
        <p:grpSpPr>
          <a:xfrm>
            <a:off x="7306332" y="2278820"/>
            <a:ext cx="682955" cy="675131"/>
            <a:chOff x="7201308" y="2125758"/>
            <a:chExt cx="675409" cy="675951"/>
          </a:xfrm>
        </p:grpSpPr>
        <p:sp>
          <p:nvSpPr>
            <p:cNvPr id="44" name="Oval 13"/>
            <p:cNvSpPr/>
            <p:nvPr/>
          </p:nvSpPr>
          <p:spPr bwMode="auto">
            <a:xfrm>
              <a:off x="7201308" y="2125758"/>
              <a:ext cx="675409" cy="675951"/>
            </a:xfrm>
            <a:prstGeom prst="ellipse">
              <a:avLst/>
            </a:pr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>
                      <a:alpha val="89999"/>
                    </a:srgbClr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algn="ctr" defTabSz="72453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195" kern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  <p:sp>
          <p:nvSpPr>
            <p:cNvPr id="45" name="Freeform 7"/>
            <p:cNvSpPr>
              <a:spLocks noEditPoints="1"/>
            </p:cNvSpPr>
            <p:nvPr/>
          </p:nvSpPr>
          <p:spPr bwMode="auto">
            <a:xfrm>
              <a:off x="7349201" y="2302020"/>
              <a:ext cx="362484" cy="335870"/>
            </a:xfrm>
            <a:custGeom>
              <a:avLst/>
              <a:gdLst>
                <a:gd name="T0" fmla="*/ 31 w 177"/>
                <a:gd name="T1" fmla="*/ 94 h 164"/>
                <a:gd name="T2" fmla="*/ 19 w 177"/>
                <a:gd name="T3" fmla="*/ 94 h 164"/>
                <a:gd name="T4" fmla="*/ 1 w 177"/>
                <a:gd name="T5" fmla="*/ 79 h 164"/>
                <a:gd name="T6" fmla="*/ 12 w 177"/>
                <a:gd name="T7" fmla="*/ 47 h 164"/>
                <a:gd name="T8" fmla="*/ 36 w 177"/>
                <a:gd name="T9" fmla="*/ 55 h 164"/>
                <a:gd name="T10" fmla="*/ 48 w 177"/>
                <a:gd name="T11" fmla="*/ 52 h 164"/>
                <a:gd name="T12" fmla="*/ 48 w 177"/>
                <a:gd name="T13" fmla="*/ 59 h 164"/>
                <a:gd name="T14" fmla="*/ 55 w 177"/>
                <a:gd name="T15" fmla="*/ 82 h 164"/>
                <a:gd name="T16" fmla="*/ 31 w 177"/>
                <a:gd name="T17" fmla="*/ 94 h 164"/>
                <a:gd name="T18" fmla="*/ 36 w 177"/>
                <a:gd name="T19" fmla="*/ 47 h 164"/>
                <a:gd name="T20" fmla="*/ 12 w 177"/>
                <a:gd name="T21" fmla="*/ 23 h 164"/>
                <a:gd name="T22" fmla="*/ 36 w 177"/>
                <a:gd name="T23" fmla="*/ 0 h 164"/>
                <a:gd name="T24" fmla="*/ 59 w 177"/>
                <a:gd name="T25" fmla="*/ 23 h 164"/>
                <a:gd name="T26" fmla="*/ 36 w 177"/>
                <a:gd name="T27" fmla="*/ 47 h 164"/>
                <a:gd name="T28" fmla="*/ 129 w 177"/>
                <a:gd name="T29" fmla="*/ 164 h 164"/>
                <a:gd name="T30" fmla="*/ 49 w 177"/>
                <a:gd name="T31" fmla="*/ 164 h 164"/>
                <a:gd name="T32" fmla="*/ 24 w 177"/>
                <a:gd name="T33" fmla="*/ 140 h 164"/>
                <a:gd name="T34" fmla="*/ 56 w 177"/>
                <a:gd name="T35" fmla="*/ 88 h 164"/>
                <a:gd name="T36" fmla="*/ 89 w 177"/>
                <a:gd name="T37" fmla="*/ 101 h 164"/>
                <a:gd name="T38" fmla="*/ 121 w 177"/>
                <a:gd name="T39" fmla="*/ 88 h 164"/>
                <a:gd name="T40" fmla="*/ 153 w 177"/>
                <a:gd name="T41" fmla="*/ 140 h 164"/>
                <a:gd name="T42" fmla="*/ 129 w 177"/>
                <a:gd name="T43" fmla="*/ 164 h 164"/>
                <a:gd name="T44" fmla="*/ 89 w 177"/>
                <a:gd name="T45" fmla="*/ 94 h 164"/>
                <a:gd name="T46" fmla="*/ 53 w 177"/>
                <a:gd name="T47" fmla="*/ 59 h 164"/>
                <a:gd name="T48" fmla="*/ 89 w 177"/>
                <a:gd name="T49" fmla="*/ 23 h 164"/>
                <a:gd name="T50" fmla="*/ 124 w 177"/>
                <a:gd name="T51" fmla="*/ 59 h 164"/>
                <a:gd name="T52" fmla="*/ 89 w 177"/>
                <a:gd name="T53" fmla="*/ 94 h 164"/>
                <a:gd name="T54" fmla="*/ 141 w 177"/>
                <a:gd name="T55" fmla="*/ 47 h 164"/>
                <a:gd name="T56" fmla="*/ 118 w 177"/>
                <a:gd name="T57" fmla="*/ 23 h 164"/>
                <a:gd name="T58" fmla="*/ 141 w 177"/>
                <a:gd name="T59" fmla="*/ 0 h 164"/>
                <a:gd name="T60" fmla="*/ 165 w 177"/>
                <a:gd name="T61" fmla="*/ 23 h 164"/>
                <a:gd name="T62" fmla="*/ 141 w 177"/>
                <a:gd name="T63" fmla="*/ 47 h 164"/>
                <a:gd name="T64" fmla="*/ 159 w 177"/>
                <a:gd name="T65" fmla="*/ 94 h 164"/>
                <a:gd name="T66" fmla="*/ 146 w 177"/>
                <a:gd name="T67" fmla="*/ 94 h 164"/>
                <a:gd name="T68" fmla="*/ 122 w 177"/>
                <a:gd name="T69" fmla="*/ 82 h 164"/>
                <a:gd name="T70" fmla="*/ 130 w 177"/>
                <a:gd name="T71" fmla="*/ 59 h 164"/>
                <a:gd name="T72" fmla="*/ 129 w 177"/>
                <a:gd name="T73" fmla="*/ 52 h 164"/>
                <a:gd name="T74" fmla="*/ 141 w 177"/>
                <a:gd name="T75" fmla="*/ 55 h 164"/>
                <a:gd name="T76" fmla="*/ 165 w 177"/>
                <a:gd name="T77" fmla="*/ 47 h 164"/>
                <a:gd name="T78" fmla="*/ 177 w 177"/>
                <a:gd name="T79" fmla="*/ 79 h 164"/>
                <a:gd name="T80" fmla="*/ 159 w 177"/>
                <a:gd name="T81" fmla="*/ 9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77" h="164">
                  <a:moveTo>
                    <a:pt x="31" y="94"/>
                  </a:moveTo>
                  <a:cubicBezTo>
                    <a:pt x="19" y="94"/>
                    <a:pt x="19" y="94"/>
                    <a:pt x="19" y="94"/>
                  </a:cubicBezTo>
                  <a:cubicBezTo>
                    <a:pt x="9" y="94"/>
                    <a:pt x="1" y="89"/>
                    <a:pt x="1" y="79"/>
                  </a:cubicBezTo>
                  <a:cubicBezTo>
                    <a:pt x="1" y="72"/>
                    <a:pt x="0" y="47"/>
                    <a:pt x="12" y="47"/>
                  </a:cubicBezTo>
                  <a:cubicBezTo>
                    <a:pt x="14" y="47"/>
                    <a:pt x="24" y="55"/>
                    <a:pt x="36" y="55"/>
                  </a:cubicBezTo>
                  <a:cubicBezTo>
                    <a:pt x="40" y="55"/>
                    <a:pt x="44" y="54"/>
                    <a:pt x="48" y="52"/>
                  </a:cubicBezTo>
                  <a:cubicBezTo>
                    <a:pt x="48" y="54"/>
                    <a:pt x="48" y="57"/>
                    <a:pt x="48" y="59"/>
                  </a:cubicBezTo>
                  <a:cubicBezTo>
                    <a:pt x="48" y="67"/>
                    <a:pt x="50" y="75"/>
                    <a:pt x="55" y="82"/>
                  </a:cubicBezTo>
                  <a:cubicBezTo>
                    <a:pt x="46" y="82"/>
                    <a:pt x="37" y="86"/>
                    <a:pt x="31" y="94"/>
                  </a:cubicBezTo>
                  <a:close/>
                  <a:moveTo>
                    <a:pt x="36" y="47"/>
                  </a:moveTo>
                  <a:cubicBezTo>
                    <a:pt x="23" y="47"/>
                    <a:pt x="12" y="36"/>
                    <a:pt x="12" y="23"/>
                  </a:cubicBezTo>
                  <a:cubicBezTo>
                    <a:pt x="12" y="10"/>
                    <a:pt x="23" y="0"/>
                    <a:pt x="36" y="0"/>
                  </a:cubicBezTo>
                  <a:cubicBezTo>
                    <a:pt x="49" y="0"/>
                    <a:pt x="59" y="10"/>
                    <a:pt x="59" y="23"/>
                  </a:cubicBezTo>
                  <a:cubicBezTo>
                    <a:pt x="59" y="36"/>
                    <a:pt x="49" y="47"/>
                    <a:pt x="36" y="47"/>
                  </a:cubicBezTo>
                  <a:close/>
                  <a:moveTo>
                    <a:pt x="129" y="164"/>
                  </a:moveTo>
                  <a:cubicBezTo>
                    <a:pt x="49" y="164"/>
                    <a:pt x="49" y="164"/>
                    <a:pt x="49" y="164"/>
                  </a:cubicBezTo>
                  <a:cubicBezTo>
                    <a:pt x="34" y="164"/>
                    <a:pt x="24" y="155"/>
                    <a:pt x="24" y="140"/>
                  </a:cubicBezTo>
                  <a:cubicBezTo>
                    <a:pt x="24" y="120"/>
                    <a:pt x="29" y="88"/>
                    <a:pt x="56" y="88"/>
                  </a:cubicBezTo>
                  <a:cubicBezTo>
                    <a:pt x="59" y="88"/>
                    <a:pt x="70" y="101"/>
                    <a:pt x="89" y="101"/>
                  </a:cubicBezTo>
                  <a:cubicBezTo>
                    <a:pt x="107" y="101"/>
                    <a:pt x="118" y="88"/>
                    <a:pt x="121" y="88"/>
                  </a:cubicBezTo>
                  <a:cubicBezTo>
                    <a:pt x="148" y="88"/>
                    <a:pt x="153" y="120"/>
                    <a:pt x="153" y="140"/>
                  </a:cubicBezTo>
                  <a:cubicBezTo>
                    <a:pt x="153" y="155"/>
                    <a:pt x="143" y="164"/>
                    <a:pt x="129" y="164"/>
                  </a:cubicBezTo>
                  <a:close/>
                  <a:moveTo>
                    <a:pt x="89" y="94"/>
                  </a:moveTo>
                  <a:cubicBezTo>
                    <a:pt x="69" y="94"/>
                    <a:pt x="53" y="78"/>
                    <a:pt x="53" y="59"/>
                  </a:cubicBezTo>
                  <a:cubicBezTo>
                    <a:pt x="53" y="39"/>
                    <a:pt x="69" y="23"/>
                    <a:pt x="89" y="23"/>
                  </a:cubicBezTo>
                  <a:cubicBezTo>
                    <a:pt x="108" y="23"/>
                    <a:pt x="124" y="39"/>
                    <a:pt x="124" y="59"/>
                  </a:cubicBezTo>
                  <a:cubicBezTo>
                    <a:pt x="124" y="78"/>
                    <a:pt x="108" y="94"/>
                    <a:pt x="89" y="94"/>
                  </a:cubicBezTo>
                  <a:close/>
                  <a:moveTo>
                    <a:pt x="141" y="47"/>
                  </a:moveTo>
                  <a:cubicBezTo>
                    <a:pt x="128" y="47"/>
                    <a:pt x="118" y="36"/>
                    <a:pt x="118" y="23"/>
                  </a:cubicBezTo>
                  <a:cubicBezTo>
                    <a:pt x="118" y="10"/>
                    <a:pt x="128" y="0"/>
                    <a:pt x="141" y="0"/>
                  </a:cubicBezTo>
                  <a:cubicBezTo>
                    <a:pt x="154" y="0"/>
                    <a:pt x="165" y="10"/>
                    <a:pt x="165" y="23"/>
                  </a:cubicBezTo>
                  <a:cubicBezTo>
                    <a:pt x="165" y="36"/>
                    <a:pt x="154" y="47"/>
                    <a:pt x="141" y="47"/>
                  </a:cubicBezTo>
                  <a:close/>
                  <a:moveTo>
                    <a:pt x="159" y="94"/>
                  </a:moveTo>
                  <a:cubicBezTo>
                    <a:pt x="146" y="94"/>
                    <a:pt x="146" y="94"/>
                    <a:pt x="146" y="94"/>
                  </a:cubicBezTo>
                  <a:cubicBezTo>
                    <a:pt x="140" y="86"/>
                    <a:pt x="132" y="82"/>
                    <a:pt x="122" y="82"/>
                  </a:cubicBezTo>
                  <a:cubicBezTo>
                    <a:pt x="127" y="75"/>
                    <a:pt x="130" y="67"/>
                    <a:pt x="130" y="59"/>
                  </a:cubicBezTo>
                  <a:cubicBezTo>
                    <a:pt x="130" y="57"/>
                    <a:pt x="129" y="54"/>
                    <a:pt x="129" y="52"/>
                  </a:cubicBezTo>
                  <a:cubicBezTo>
                    <a:pt x="133" y="54"/>
                    <a:pt x="137" y="55"/>
                    <a:pt x="141" y="55"/>
                  </a:cubicBezTo>
                  <a:cubicBezTo>
                    <a:pt x="154" y="55"/>
                    <a:pt x="163" y="47"/>
                    <a:pt x="165" y="47"/>
                  </a:cubicBezTo>
                  <a:cubicBezTo>
                    <a:pt x="177" y="47"/>
                    <a:pt x="177" y="72"/>
                    <a:pt x="177" y="79"/>
                  </a:cubicBezTo>
                  <a:cubicBezTo>
                    <a:pt x="177" y="89"/>
                    <a:pt x="168" y="94"/>
                    <a:pt x="159" y="94"/>
                  </a:cubicBezTo>
                  <a:close/>
                </a:path>
              </a:pathLst>
            </a:custGeom>
            <a:solidFill>
              <a:srgbClr val="E8D2A2"/>
            </a:solidFill>
            <a:ln>
              <a:noFill/>
            </a:ln>
          </p:spPr>
          <p:txBody>
            <a:bodyPr vert="horz" wrap="square" lIns="91330" tIns="45664" rIns="91330" bIns="45664" numCol="1" anchor="t" anchorCtr="0" compatLnSpc="1"/>
            <a:lstStyle/>
            <a:p>
              <a:pPr algn="ctr" defTabSz="72453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195" kern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46" name="Group 1"/>
          <p:cNvGrpSpPr/>
          <p:nvPr/>
        </p:nvGrpSpPr>
        <p:grpSpPr>
          <a:xfrm>
            <a:off x="1367421" y="2278820"/>
            <a:ext cx="683501" cy="675131"/>
            <a:chOff x="1328007" y="2125758"/>
            <a:chExt cx="675950" cy="675951"/>
          </a:xfrm>
        </p:grpSpPr>
        <p:sp>
          <p:nvSpPr>
            <p:cNvPr id="47" name="Oval 4"/>
            <p:cNvSpPr/>
            <p:nvPr/>
          </p:nvSpPr>
          <p:spPr bwMode="auto">
            <a:xfrm>
              <a:off x="1328007" y="2125758"/>
              <a:ext cx="675950" cy="675951"/>
            </a:xfrm>
            <a:prstGeom prst="ellipse">
              <a:avLst/>
            </a:prstGeom>
            <a:solidFill>
              <a:srgbClr val="F7F7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>
                      <a:alpha val="89999"/>
                    </a:srgbClr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algn="ctr" defTabSz="72453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195" kern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  <p:sp>
          <p:nvSpPr>
            <p:cNvPr id="48" name="Freeform 8"/>
            <p:cNvSpPr>
              <a:spLocks noEditPoints="1"/>
            </p:cNvSpPr>
            <p:nvPr/>
          </p:nvSpPr>
          <p:spPr bwMode="auto">
            <a:xfrm>
              <a:off x="1560757" y="2287931"/>
              <a:ext cx="244316" cy="364048"/>
            </a:xfrm>
            <a:custGeom>
              <a:avLst/>
              <a:gdLst>
                <a:gd name="T0" fmla="*/ 85 w 94"/>
                <a:gd name="T1" fmla="*/ 44 h 140"/>
                <a:gd name="T2" fmla="*/ 45 w 94"/>
                <a:gd name="T3" fmla="*/ 90 h 140"/>
                <a:gd name="T4" fmla="*/ 26 w 94"/>
                <a:gd name="T5" fmla="*/ 105 h 140"/>
                <a:gd name="T6" fmla="*/ 26 w 94"/>
                <a:gd name="T7" fmla="*/ 108 h 140"/>
                <a:gd name="T8" fmla="*/ 35 w 94"/>
                <a:gd name="T9" fmla="*/ 123 h 140"/>
                <a:gd name="T10" fmla="*/ 17 w 94"/>
                <a:gd name="T11" fmla="*/ 140 h 140"/>
                <a:gd name="T12" fmla="*/ 0 w 94"/>
                <a:gd name="T13" fmla="*/ 123 h 140"/>
                <a:gd name="T14" fmla="*/ 9 w 94"/>
                <a:gd name="T15" fmla="*/ 108 h 140"/>
                <a:gd name="T16" fmla="*/ 9 w 94"/>
                <a:gd name="T17" fmla="*/ 33 h 140"/>
                <a:gd name="T18" fmla="*/ 0 w 94"/>
                <a:gd name="T19" fmla="*/ 17 h 140"/>
                <a:gd name="T20" fmla="*/ 17 w 94"/>
                <a:gd name="T21" fmla="*/ 0 h 140"/>
                <a:gd name="T22" fmla="*/ 35 w 94"/>
                <a:gd name="T23" fmla="*/ 17 h 140"/>
                <a:gd name="T24" fmla="*/ 26 w 94"/>
                <a:gd name="T25" fmla="*/ 33 h 140"/>
                <a:gd name="T26" fmla="*/ 26 w 94"/>
                <a:gd name="T27" fmla="*/ 78 h 140"/>
                <a:gd name="T28" fmla="*/ 40 w 94"/>
                <a:gd name="T29" fmla="*/ 73 h 140"/>
                <a:gd name="T30" fmla="*/ 67 w 94"/>
                <a:gd name="T31" fmla="*/ 44 h 140"/>
                <a:gd name="T32" fmla="*/ 58 w 94"/>
                <a:gd name="T33" fmla="*/ 29 h 140"/>
                <a:gd name="T34" fmla="*/ 76 w 94"/>
                <a:gd name="T35" fmla="*/ 11 h 140"/>
                <a:gd name="T36" fmla="*/ 94 w 94"/>
                <a:gd name="T37" fmla="*/ 29 h 140"/>
                <a:gd name="T38" fmla="*/ 85 w 94"/>
                <a:gd name="T39" fmla="*/ 44 h 140"/>
                <a:gd name="T40" fmla="*/ 17 w 94"/>
                <a:gd name="T41" fmla="*/ 9 h 140"/>
                <a:gd name="T42" fmla="*/ 9 w 94"/>
                <a:gd name="T43" fmla="*/ 17 h 140"/>
                <a:gd name="T44" fmla="*/ 17 w 94"/>
                <a:gd name="T45" fmla="*/ 26 h 140"/>
                <a:gd name="T46" fmla="*/ 26 w 94"/>
                <a:gd name="T47" fmla="*/ 17 h 140"/>
                <a:gd name="T48" fmla="*/ 17 w 94"/>
                <a:gd name="T49" fmla="*/ 9 h 140"/>
                <a:gd name="T50" fmla="*/ 17 w 94"/>
                <a:gd name="T51" fmla="*/ 114 h 140"/>
                <a:gd name="T52" fmla="*/ 9 w 94"/>
                <a:gd name="T53" fmla="*/ 123 h 140"/>
                <a:gd name="T54" fmla="*/ 17 w 94"/>
                <a:gd name="T55" fmla="*/ 132 h 140"/>
                <a:gd name="T56" fmla="*/ 26 w 94"/>
                <a:gd name="T57" fmla="*/ 123 h 140"/>
                <a:gd name="T58" fmla="*/ 17 w 94"/>
                <a:gd name="T59" fmla="*/ 114 h 140"/>
                <a:gd name="T60" fmla="*/ 76 w 94"/>
                <a:gd name="T61" fmla="*/ 20 h 140"/>
                <a:gd name="T62" fmla="*/ 67 w 94"/>
                <a:gd name="T63" fmla="*/ 29 h 140"/>
                <a:gd name="T64" fmla="*/ 76 w 94"/>
                <a:gd name="T65" fmla="*/ 38 h 140"/>
                <a:gd name="T66" fmla="*/ 85 w 94"/>
                <a:gd name="T67" fmla="*/ 29 h 140"/>
                <a:gd name="T68" fmla="*/ 76 w 94"/>
                <a:gd name="T69" fmla="*/ 2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4" h="140">
                  <a:moveTo>
                    <a:pt x="85" y="44"/>
                  </a:moveTo>
                  <a:cubicBezTo>
                    <a:pt x="84" y="77"/>
                    <a:pt x="61" y="85"/>
                    <a:pt x="45" y="90"/>
                  </a:cubicBezTo>
                  <a:cubicBezTo>
                    <a:pt x="31" y="94"/>
                    <a:pt x="26" y="96"/>
                    <a:pt x="26" y="105"/>
                  </a:cubicBezTo>
                  <a:cubicBezTo>
                    <a:pt x="26" y="108"/>
                    <a:pt x="26" y="108"/>
                    <a:pt x="26" y="108"/>
                  </a:cubicBezTo>
                  <a:cubicBezTo>
                    <a:pt x="31" y="111"/>
                    <a:pt x="35" y="116"/>
                    <a:pt x="35" y="123"/>
                  </a:cubicBezTo>
                  <a:cubicBezTo>
                    <a:pt x="35" y="132"/>
                    <a:pt x="27" y="140"/>
                    <a:pt x="17" y="140"/>
                  </a:cubicBezTo>
                  <a:cubicBezTo>
                    <a:pt x="8" y="140"/>
                    <a:pt x="0" y="132"/>
                    <a:pt x="0" y="123"/>
                  </a:cubicBezTo>
                  <a:cubicBezTo>
                    <a:pt x="0" y="116"/>
                    <a:pt x="3" y="111"/>
                    <a:pt x="9" y="108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3" y="29"/>
                    <a:pt x="0" y="24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4"/>
                    <a:pt x="31" y="29"/>
                    <a:pt x="26" y="33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31" y="76"/>
                    <a:pt x="36" y="74"/>
                    <a:pt x="40" y="73"/>
                  </a:cubicBezTo>
                  <a:cubicBezTo>
                    <a:pt x="57" y="67"/>
                    <a:pt x="67" y="63"/>
                    <a:pt x="67" y="44"/>
                  </a:cubicBezTo>
                  <a:cubicBezTo>
                    <a:pt x="62" y="41"/>
                    <a:pt x="58" y="36"/>
                    <a:pt x="58" y="29"/>
                  </a:cubicBezTo>
                  <a:cubicBezTo>
                    <a:pt x="58" y="19"/>
                    <a:pt x="66" y="11"/>
                    <a:pt x="76" y="11"/>
                  </a:cubicBezTo>
                  <a:cubicBezTo>
                    <a:pt x="86" y="11"/>
                    <a:pt x="94" y="19"/>
                    <a:pt x="94" y="29"/>
                  </a:cubicBezTo>
                  <a:cubicBezTo>
                    <a:pt x="94" y="36"/>
                    <a:pt x="90" y="41"/>
                    <a:pt x="85" y="44"/>
                  </a:cubicBezTo>
                  <a:close/>
                  <a:moveTo>
                    <a:pt x="17" y="9"/>
                  </a:moveTo>
                  <a:cubicBezTo>
                    <a:pt x="13" y="9"/>
                    <a:pt x="9" y="12"/>
                    <a:pt x="9" y="17"/>
                  </a:cubicBezTo>
                  <a:cubicBezTo>
                    <a:pt x="9" y="22"/>
                    <a:pt x="13" y="26"/>
                    <a:pt x="17" y="26"/>
                  </a:cubicBezTo>
                  <a:cubicBezTo>
                    <a:pt x="22" y="26"/>
                    <a:pt x="26" y="22"/>
                    <a:pt x="26" y="17"/>
                  </a:cubicBezTo>
                  <a:cubicBezTo>
                    <a:pt x="26" y="12"/>
                    <a:pt x="22" y="9"/>
                    <a:pt x="17" y="9"/>
                  </a:cubicBezTo>
                  <a:close/>
                  <a:moveTo>
                    <a:pt x="17" y="114"/>
                  </a:moveTo>
                  <a:cubicBezTo>
                    <a:pt x="13" y="114"/>
                    <a:pt x="9" y="118"/>
                    <a:pt x="9" y="123"/>
                  </a:cubicBezTo>
                  <a:cubicBezTo>
                    <a:pt x="9" y="128"/>
                    <a:pt x="13" y="132"/>
                    <a:pt x="17" y="132"/>
                  </a:cubicBezTo>
                  <a:cubicBezTo>
                    <a:pt x="22" y="132"/>
                    <a:pt x="26" y="128"/>
                    <a:pt x="26" y="123"/>
                  </a:cubicBezTo>
                  <a:cubicBezTo>
                    <a:pt x="26" y="118"/>
                    <a:pt x="22" y="114"/>
                    <a:pt x="17" y="114"/>
                  </a:cubicBezTo>
                  <a:close/>
                  <a:moveTo>
                    <a:pt x="76" y="20"/>
                  </a:moveTo>
                  <a:cubicBezTo>
                    <a:pt x="71" y="20"/>
                    <a:pt x="67" y="24"/>
                    <a:pt x="67" y="29"/>
                  </a:cubicBezTo>
                  <a:cubicBezTo>
                    <a:pt x="67" y="34"/>
                    <a:pt x="71" y="38"/>
                    <a:pt x="76" y="38"/>
                  </a:cubicBezTo>
                  <a:cubicBezTo>
                    <a:pt x="81" y="38"/>
                    <a:pt x="85" y="34"/>
                    <a:pt x="85" y="29"/>
                  </a:cubicBezTo>
                  <a:cubicBezTo>
                    <a:pt x="85" y="24"/>
                    <a:pt x="81" y="20"/>
                    <a:pt x="76" y="20"/>
                  </a:cubicBezTo>
                  <a:close/>
                </a:path>
              </a:pathLst>
            </a:custGeom>
            <a:solidFill>
              <a:srgbClr val="ADACC8"/>
            </a:solidFill>
            <a:ln>
              <a:noFill/>
            </a:ln>
          </p:spPr>
          <p:txBody>
            <a:bodyPr vert="horz" wrap="square" lIns="91330" tIns="45664" rIns="91330" bIns="45664" numCol="1" anchor="t" anchorCtr="0" compatLnSpc="1"/>
            <a:lstStyle/>
            <a:p>
              <a:pPr algn="ctr" defTabSz="72453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195" kern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49" name="Group 3"/>
          <p:cNvGrpSpPr/>
          <p:nvPr/>
        </p:nvGrpSpPr>
        <p:grpSpPr>
          <a:xfrm>
            <a:off x="5342248" y="2278820"/>
            <a:ext cx="682955" cy="675131"/>
            <a:chOff x="5258922" y="2125758"/>
            <a:chExt cx="675409" cy="675951"/>
          </a:xfrm>
          <a:solidFill>
            <a:srgbClr val="F7F7F7"/>
          </a:solidFill>
        </p:grpSpPr>
        <p:sp>
          <p:nvSpPr>
            <p:cNvPr id="50" name="Oval 10"/>
            <p:cNvSpPr/>
            <p:nvPr/>
          </p:nvSpPr>
          <p:spPr bwMode="auto">
            <a:xfrm>
              <a:off x="5258922" y="2125758"/>
              <a:ext cx="675409" cy="675951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25400">
                  <a:solidFill>
                    <a:srgbClr val="000000">
                      <a:alpha val="89999"/>
                    </a:srgbClr>
                  </a:solidFill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txBody>
            <a:bodyPr lIns="0" tIns="0" rIns="0" bIns="0"/>
            <a:lstStyle/>
            <a:p>
              <a:pPr algn="ctr" defTabSz="72453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195" kern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  <p:sp>
          <p:nvSpPr>
            <p:cNvPr id="51" name="Freeform 11"/>
            <p:cNvSpPr>
              <a:spLocks noEditPoints="1"/>
            </p:cNvSpPr>
            <p:nvPr/>
          </p:nvSpPr>
          <p:spPr bwMode="auto">
            <a:xfrm>
              <a:off x="5442652" y="2316469"/>
              <a:ext cx="308223" cy="306972"/>
            </a:xfrm>
            <a:custGeom>
              <a:avLst/>
              <a:gdLst>
                <a:gd name="T0" fmla="*/ 141 w 152"/>
                <a:gd name="T1" fmla="*/ 152 h 152"/>
                <a:gd name="T2" fmla="*/ 132 w 152"/>
                <a:gd name="T3" fmla="*/ 148 h 152"/>
                <a:gd name="T4" fmla="*/ 101 w 152"/>
                <a:gd name="T5" fmla="*/ 117 h 152"/>
                <a:gd name="T6" fmla="*/ 65 w 152"/>
                <a:gd name="T7" fmla="*/ 128 h 152"/>
                <a:gd name="T8" fmla="*/ 0 w 152"/>
                <a:gd name="T9" fmla="*/ 64 h 152"/>
                <a:gd name="T10" fmla="*/ 65 w 152"/>
                <a:gd name="T11" fmla="*/ 0 h 152"/>
                <a:gd name="T12" fmla="*/ 129 w 152"/>
                <a:gd name="T13" fmla="*/ 64 h 152"/>
                <a:gd name="T14" fmla="*/ 118 w 152"/>
                <a:gd name="T15" fmla="*/ 100 h 152"/>
                <a:gd name="T16" fmla="*/ 149 w 152"/>
                <a:gd name="T17" fmla="*/ 132 h 152"/>
                <a:gd name="T18" fmla="*/ 152 w 152"/>
                <a:gd name="T19" fmla="*/ 140 h 152"/>
                <a:gd name="T20" fmla="*/ 141 w 152"/>
                <a:gd name="T21" fmla="*/ 152 h 152"/>
                <a:gd name="T22" fmla="*/ 65 w 152"/>
                <a:gd name="T23" fmla="*/ 23 h 152"/>
                <a:gd name="T24" fmla="*/ 24 w 152"/>
                <a:gd name="T25" fmla="*/ 64 h 152"/>
                <a:gd name="T26" fmla="*/ 65 w 152"/>
                <a:gd name="T27" fmla="*/ 105 h 152"/>
                <a:gd name="T28" fmla="*/ 106 w 152"/>
                <a:gd name="T29" fmla="*/ 64 h 152"/>
                <a:gd name="T30" fmla="*/ 65 w 152"/>
                <a:gd name="T31" fmla="*/ 23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52" h="152">
                  <a:moveTo>
                    <a:pt x="141" y="152"/>
                  </a:moveTo>
                  <a:cubicBezTo>
                    <a:pt x="138" y="152"/>
                    <a:pt x="135" y="151"/>
                    <a:pt x="132" y="148"/>
                  </a:cubicBezTo>
                  <a:cubicBezTo>
                    <a:pt x="101" y="117"/>
                    <a:pt x="101" y="117"/>
                    <a:pt x="101" y="117"/>
                  </a:cubicBezTo>
                  <a:cubicBezTo>
                    <a:pt x="90" y="124"/>
                    <a:pt x="78" y="128"/>
                    <a:pt x="65" y="128"/>
                  </a:cubicBezTo>
                  <a:cubicBezTo>
                    <a:pt x="29" y="128"/>
                    <a:pt x="0" y="100"/>
                    <a:pt x="0" y="64"/>
                  </a:cubicBezTo>
                  <a:cubicBezTo>
                    <a:pt x="0" y="28"/>
                    <a:pt x="29" y="0"/>
                    <a:pt x="65" y="0"/>
                  </a:cubicBezTo>
                  <a:cubicBezTo>
                    <a:pt x="100" y="0"/>
                    <a:pt x="129" y="28"/>
                    <a:pt x="129" y="64"/>
                  </a:cubicBezTo>
                  <a:cubicBezTo>
                    <a:pt x="129" y="77"/>
                    <a:pt x="125" y="90"/>
                    <a:pt x="118" y="100"/>
                  </a:cubicBezTo>
                  <a:cubicBezTo>
                    <a:pt x="149" y="132"/>
                    <a:pt x="149" y="132"/>
                    <a:pt x="149" y="132"/>
                  </a:cubicBezTo>
                  <a:cubicBezTo>
                    <a:pt x="151" y="134"/>
                    <a:pt x="152" y="137"/>
                    <a:pt x="152" y="140"/>
                  </a:cubicBezTo>
                  <a:cubicBezTo>
                    <a:pt x="152" y="147"/>
                    <a:pt x="147" y="152"/>
                    <a:pt x="141" y="152"/>
                  </a:cubicBezTo>
                  <a:close/>
                  <a:moveTo>
                    <a:pt x="65" y="23"/>
                  </a:moveTo>
                  <a:cubicBezTo>
                    <a:pt x="42" y="23"/>
                    <a:pt x="24" y="41"/>
                    <a:pt x="24" y="64"/>
                  </a:cubicBezTo>
                  <a:cubicBezTo>
                    <a:pt x="24" y="87"/>
                    <a:pt x="42" y="105"/>
                    <a:pt x="65" y="105"/>
                  </a:cubicBezTo>
                  <a:cubicBezTo>
                    <a:pt x="87" y="105"/>
                    <a:pt x="106" y="87"/>
                    <a:pt x="106" y="64"/>
                  </a:cubicBezTo>
                  <a:cubicBezTo>
                    <a:pt x="106" y="41"/>
                    <a:pt x="87" y="23"/>
                    <a:pt x="65" y="23"/>
                  </a:cubicBezTo>
                  <a:close/>
                </a:path>
              </a:pathLst>
            </a:custGeom>
            <a:solidFill>
              <a:srgbClr val="ADACC8"/>
            </a:solidFill>
            <a:ln>
              <a:noFill/>
            </a:ln>
          </p:spPr>
          <p:txBody>
            <a:bodyPr vert="horz" wrap="square" lIns="91330" tIns="45664" rIns="91330" bIns="45664" numCol="1" anchor="t" anchorCtr="0" compatLnSpc="1"/>
            <a:lstStyle/>
            <a:p>
              <a:pPr algn="ctr" defTabSz="724535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195" kern="0">
                <a:solidFill>
                  <a:srgbClr val="000000"/>
                </a:solidFill>
                <a:cs typeface="+mn-ea"/>
                <a:sym typeface="+mn-lt"/>
              </a:endParaRPr>
            </a:p>
          </p:txBody>
        </p:sp>
      </p:grpSp>
      <p:sp>
        <p:nvSpPr>
          <p:cNvPr id="52" name="Rectangle 14"/>
          <p:cNvSpPr/>
          <p:nvPr/>
        </p:nvSpPr>
        <p:spPr bwMode="auto">
          <a:xfrm>
            <a:off x="1693227" y="1383071"/>
            <a:ext cx="5757545" cy="359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t"/>
          <a:lstStyle/>
          <a:p>
            <a:pPr algn="ctr" defTabSz="724535" fontAlgn="base">
              <a:lnSpc>
                <a:spcPct val="12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zh-CN" sz="1400" dirty="0">
                <a:solidFill>
                  <a:srgbClr val="7F7F7F"/>
                </a:solidFill>
                <a:cs typeface="+mn-ea"/>
                <a:sym typeface="+mn-lt"/>
              </a:rPr>
              <a:t>Click here to add text content, such as keywords, some brief introductions, etc.</a:t>
            </a:r>
            <a:endParaRPr lang="en-US" sz="1400" dirty="0">
              <a:solidFill>
                <a:srgbClr val="7F7F7F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400" tmFilter="0,0; .5, 1; 1, 1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4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120"/>
                            </p:stCondLst>
                            <p:childTnLst>
                              <p:par>
                                <p:cTn id="1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120"/>
                            </p:stCondLst>
                            <p:childTnLst>
                              <p:par>
                                <p:cTn id="2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620"/>
                            </p:stCondLst>
                            <p:childTnLst>
                              <p:par>
                                <p:cTn id="2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12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620"/>
                            </p:stCondLst>
                            <p:childTnLst>
                              <p:par>
                                <p:cTn id="3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4620"/>
                            </p:stCondLst>
                            <p:childTnLst>
                              <p:par>
                                <p:cTn id="4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120"/>
                            </p:stCondLst>
                            <p:childTnLst>
                              <p:par>
                                <p:cTn id="4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620"/>
                            </p:stCondLst>
                            <p:childTnLst>
                              <p:par>
                                <p:cTn id="5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6120"/>
                            </p:stCondLst>
                            <p:childTnLst>
                              <p:par>
                                <p:cTn id="5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7120"/>
                            </p:stCondLst>
                            <p:childTnLst>
                              <p:par>
                                <p:cTn id="6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7620"/>
                            </p:stCondLst>
                            <p:childTnLst>
                              <p:par>
                                <p:cTn id="6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8120"/>
                            </p:stCondLst>
                            <p:childTnLst>
                              <p:par>
                                <p:cTn id="7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8620"/>
                            </p:stCondLst>
                            <p:childTnLst>
                              <p:par>
                                <p:cTn id="7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9620"/>
                            </p:stCondLst>
                            <p:childTnLst>
                              <p:par>
                                <p:cTn id="8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10120"/>
                            </p:stCondLst>
                            <p:childTnLst>
                              <p:par>
                                <p:cTn id="8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10620"/>
                            </p:stCondLst>
                            <p:childTnLst>
                              <p:par>
                                <p:cTn id="9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3" grpId="0" bldLvl="0" animBg="1"/>
      <p:bldP spid="4" grpId="0" bldLvl="0" animBg="1"/>
      <p:bldP spid="5" grpId="0" bldLvl="0" animBg="1"/>
      <p:bldP spid="14" grpId="0" bldLvl="0" animBg="1"/>
      <p:bldP spid="15" grpId="0"/>
      <p:bldP spid="18" grpId="0"/>
      <p:bldP spid="34" grpId="0"/>
      <p:bldP spid="35" grpId="0"/>
      <p:bldP spid="36" grpId="0"/>
      <p:bldP spid="37" grpId="0"/>
      <p:bldP spid="38" grpId="0"/>
      <p:bldP spid="39" grpId="0"/>
      <p:bldP spid="5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31"/>
          <p:cNvSpPr txBox="1"/>
          <p:nvPr/>
        </p:nvSpPr>
        <p:spPr>
          <a:xfrm>
            <a:off x="1941953" y="138070"/>
            <a:ext cx="5208588" cy="646331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defPPr>
              <a:defRPr lang="zh-CN"/>
            </a:defPPr>
            <a:lvl1pPr lvl="0">
              <a:defRPr sz="3600" b="1">
                <a:solidFill>
                  <a:schemeClr val="accent2"/>
                </a:solidFill>
                <a:cs typeface="+mn-ea"/>
              </a:defRPr>
            </a:lvl1pPr>
          </a:lstStyle>
          <a:p>
            <a:pPr algn="ctr"/>
            <a:r>
              <a:rPr lang="en-US" altLang="zh-CN" dirty="0">
                <a:sym typeface="+mn-lt"/>
              </a:rPr>
              <a:t>Instructional Design</a:t>
            </a:r>
            <a:endParaRPr lang="zh-CN" altLang="en-US" dirty="0">
              <a:sym typeface="+mn-lt"/>
            </a:endParaRPr>
          </a:p>
        </p:txBody>
      </p:sp>
      <p:sp>
        <p:nvSpPr>
          <p:cNvPr id="2" name="圆角矩形 1"/>
          <p:cNvSpPr/>
          <p:nvPr/>
        </p:nvSpPr>
        <p:spPr>
          <a:xfrm>
            <a:off x="1168137" y="1531240"/>
            <a:ext cx="5840009" cy="642439"/>
          </a:xfrm>
          <a:prstGeom prst="roundRect">
            <a:avLst/>
          </a:prstGeom>
          <a:noFill/>
          <a:ln w="60325" cap="flat" cmpd="sng" algn="ctr">
            <a:solidFill>
              <a:srgbClr val="ADACC8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zh-CN" altLang="en-US" sz="875">
              <a:solidFill>
                <a:srgbClr val="7F7F7F"/>
              </a:solidFill>
              <a:cs typeface="+mn-ea"/>
              <a:sym typeface="+mn-lt"/>
            </a:endParaRPr>
          </a:p>
        </p:txBody>
      </p:sp>
      <p:grpSp>
        <p:nvGrpSpPr>
          <p:cNvPr id="3" name="Group 5"/>
          <p:cNvGrpSpPr/>
          <p:nvPr/>
        </p:nvGrpSpPr>
        <p:grpSpPr bwMode="auto">
          <a:xfrm>
            <a:off x="533251" y="1342078"/>
            <a:ext cx="927363" cy="926777"/>
            <a:chOff x="802" y="845"/>
            <a:chExt cx="827" cy="826"/>
          </a:xfrm>
        </p:grpSpPr>
        <p:sp>
          <p:nvSpPr>
            <p:cNvPr id="4" name="Oval 6"/>
            <p:cNvSpPr>
              <a:spLocks noChangeArrowheads="1"/>
            </p:cNvSpPr>
            <p:nvPr/>
          </p:nvSpPr>
          <p:spPr bwMode="ltGray">
            <a:xfrm>
              <a:off x="802" y="845"/>
              <a:ext cx="827" cy="826"/>
            </a:xfrm>
            <a:prstGeom prst="ellipse">
              <a:avLst/>
            </a:prstGeom>
            <a:solidFill>
              <a:srgbClr val="F8F8F8"/>
            </a:solidFill>
            <a:ln w="38100">
              <a:solidFill>
                <a:srgbClr val="ADACC8"/>
              </a:solidFill>
              <a:round/>
            </a:ln>
          </p:spPr>
          <p:txBody>
            <a:bodyPr wrap="none" anchor="ctr"/>
            <a:lstStyle/>
            <a:p>
              <a:endParaRPr lang="zh-CN" altLang="en-US" sz="875">
                <a:solidFill>
                  <a:srgbClr val="7F7F7F"/>
                </a:solidFill>
                <a:cs typeface="+mn-ea"/>
                <a:sym typeface="+mn-lt"/>
              </a:endParaRPr>
            </a:p>
          </p:txBody>
        </p:sp>
        <p:sp>
          <p:nvSpPr>
            <p:cNvPr id="5" name="Oval 7"/>
            <p:cNvSpPr>
              <a:spLocks noChangeArrowheads="1"/>
            </p:cNvSpPr>
            <p:nvPr/>
          </p:nvSpPr>
          <p:spPr bwMode="ltGray">
            <a:xfrm>
              <a:off x="836" y="879"/>
              <a:ext cx="758" cy="758"/>
            </a:xfrm>
            <a:prstGeom prst="ellipse">
              <a:avLst/>
            </a:prstGeom>
            <a:solidFill>
              <a:srgbClr val="FFFFFF"/>
            </a:solidFill>
            <a:ln w="38100">
              <a:solidFill>
                <a:srgbClr val="ADACC8"/>
              </a:solidFill>
              <a:round/>
            </a:ln>
          </p:spPr>
          <p:txBody>
            <a:bodyPr wrap="none" anchor="ctr"/>
            <a:lstStyle/>
            <a:p>
              <a:endParaRPr lang="zh-CN" altLang="en-US" sz="875">
                <a:solidFill>
                  <a:srgbClr val="7F7F7F"/>
                </a:solidFill>
                <a:cs typeface="+mn-ea"/>
                <a:sym typeface="+mn-lt"/>
              </a:endParaRPr>
            </a:p>
          </p:txBody>
        </p:sp>
        <p:sp>
          <p:nvSpPr>
            <p:cNvPr id="6" name="Oval 8"/>
            <p:cNvSpPr>
              <a:spLocks noChangeArrowheads="1"/>
            </p:cNvSpPr>
            <p:nvPr/>
          </p:nvSpPr>
          <p:spPr bwMode="ltGray">
            <a:xfrm>
              <a:off x="870" y="915"/>
              <a:ext cx="690" cy="690"/>
            </a:xfrm>
            <a:prstGeom prst="ellipse">
              <a:avLst/>
            </a:prstGeom>
            <a:noFill/>
            <a:ln w="38100">
              <a:solidFill>
                <a:srgbClr val="ADACC8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 sz="875">
                <a:solidFill>
                  <a:srgbClr val="7F7F7F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3" name="TextBox 69"/>
          <p:cNvSpPr txBox="1"/>
          <p:nvPr/>
        </p:nvSpPr>
        <p:spPr>
          <a:xfrm>
            <a:off x="550908" y="1801330"/>
            <a:ext cx="909529" cy="32194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1500" b="1" dirty="0">
                <a:solidFill>
                  <a:srgbClr val="7F7F7F"/>
                </a:solidFill>
                <a:cs typeface="+mn-ea"/>
                <a:sym typeface="+mn-lt"/>
              </a:rPr>
              <a:t>Title</a:t>
            </a:r>
            <a:endParaRPr lang="zh-CN" altLang="en-US" sz="1500" b="1" dirty="0">
              <a:solidFill>
                <a:srgbClr val="7F7F7F"/>
              </a:solidFill>
              <a:cs typeface="+mn-ea"/>
              <a:sym typeface="+mn-lt"/>
            </a:endParaRPr>
          </a:p>
        </p:txBody>
      </p:sp>
      <p:sp>
        <p:nvSpPr>
          <p:cNvPr id="14" name="TextBox 73"/>
          <p:cNvSpPr txBox="1"/>
          <p:nvPr/>
        </p:nvSpPr>
        <p:spPr>
          <a:xfrm>
            <a:off x="1549784" y="1611900"/>
            <a:ext cx="5353738" cy="31303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1200" dirty="0">
                <a:solidFill>
                  <a:srgbClr val="7F7F7F"/>
                </a:solidFill>
                <a:cs typeface="+mn-ea"/>
                <a:sym typeface="+mn-lt"/>
              </a:rPr>
              <a:t>Click here to add text content, such as keywords, some brief introductions, etc.</a:t>
            </a:r>
            <a:endParaRPr lang="zh-CN" altLang="en-US" sz="1200" dirty="0">
              <a:solidFill>
                <a:srgbClr val="7F7F7F"/>
              </a:solidFill>
              <a:cs typeface="+mn-ea"/>
              <a:sym typeface="+mn-lt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366"/>
          <a:stretch>
            <a:fillRect/>
          </a:stretch>
        </p:blipFill>
        <p:spPr>
          <a:xfrm>
            <a:off x="755650" y="1479550"/>
            <a:ext cx="499745" cy="469265"/>
          </a:xfrm>
          <a:prstGeom prst="rect">
            <a:avLst/>
          </a:prstGeom>
        </p:spPr>
      </p:pic>
      <p:sp>
        <p:nvSpPr>
          <p:cNvPr id="21" name="圆角矩形 20"/>
          <p:cNvSpPr/>
          <p:nvPr/>
        </p:nvSpPr>
        <p:spPr>
          <a:xfrm>
            <a:off x="1394946" y="2567419"/>
            <a:ext cx="5755595" cy="642439"/>
          </a:xfrm>
          <a:prstGeom prst="roundRect">
            <a:avLst/>
          </a:prstGeom>
          <a:noFill/>
          <a:ln w="60325" cap="flat" cmpd="sng" algn="ctr">
            <a:solidFill>
              <a:srgbClr val="B1B5E1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zh-CN" altLang="en-US" sz="875">
              <a:solidFill>
                <a:srgbClr val="7F7F7F"/>
              </a:solidFill>
              <a:cs typeface="+mn-ea"/>
              <a:sym typeface="+mn-lt"/>
            </a:endParaRPr>
          </a:p>
        </p:txBody>
      </p:sp>
      <p:grpSp>
        <p:nvGrpSpPr>
          <p:cNvPr id="22" name="Group 12"/>
          <p:cNvGrpSpPr/>
          <p:nvPr/>
        </p:nvGrpSpPr>
        <p:grpSpPr bwMode="auto">
          <a:xfrm>
            <a:off x="6897299" y="2393723"/>
            <a:ext cx="927363" cy="926777"/>
            <a:chOff x="802" y="845"/>
            <a:chExt cx="827" cy="826"/>
          </a:xfrm>
        </p:grpSpPr>
        <p:sp>
          <p:nvSpPr>
            <p:cNvPr id="23" name="Oval 13"/>
            <p:cNvSpPr>
              <a:spLocks noChangeArrowheads="1"/>
            </p:cNvSpPr>
            <p:nvPr/>
          </p:nvSpPr>
          <p:spPr bwMode="gray">
            <a:xfrm>
              <a:off x="802" y="845"/>
              <a:ext cx="827" cy="826"/>
            </a:xfrm>
            <a:prstGeom prst="ellipse">
              <a:avLst/>
            </a:prstGeom>
            <a:solidFill>
              <a:srgbClr val="F8F8F8"/>
            </a:solidFill>
            <a:ln w="38100">
              <a:solidFill>
                <a:srgbClr val="B1B5E1"/>
              </a:solidFill>
              <a:round/>
            </a:ln>
          </p:spPr>
          <p:txBody>
            <a:bodyPr wrap="none" anchor="ctr"/>
            <a:lstStyle/>
            <a:p>
              <a:endParaRPr lang="zh-CN" altLang="en-US" sz="875">
                <a:solidFill>
                  <a:srgbClr val="7F7F7F"/>
                </a:solidFill>
                <a:cs typeface="+mn-ea"/>
                <a:sym typeface="+mn-lt"/>
              </a:endParaRPr>
            </a:p>
          </p:txBody>
        </p:sp>
        <p:sp>
          <p:nvSpPr>
            <p:cNvPr id="26" name="Oval 14"/>
            <p:cNvSpPr>
              <a:spLocks noChangeArrowheads="1"/>
            </p:cNvSpPr>
            <p:nvPr/>
          </p:nvSpPr>
          <p:spPr bwMode="gray">
            <a:xfrm>
              <a:off x="836" y="879"/>
              <a:ext cx="758" cy="758"/>
            </a:xfrm>
            <a:prstGeom prst="ellipse">
              <a:avLst/>
            </a:prstGeom>
            <a:noFill/>
            <a:ln w="38100">
              <a:solidFill>
                <a:srgbClr val="B1B5E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 sz="875">
                <a:solidFill>
                  <a:srgbClr val="7F7F7F"/>
                </a:solidFill>
                <a:cs typeface="+mn-ea"/>
                <a:sym typeface="+mn-lt"/>
              </a:endParaRPr>
            </a:p>
          </p:txBody>
        </p:sp>
        <p:sp>
          <p:nvSpPr>
            <p:cNvPr id="29" name="Oval 15"/>
            <p:cNvSpPr>
              <a:spLocks noChangeArrowheads="1"/>
            </p:cNvSpPr>
            <p:nvPr/>
          </p:nvSpPr>
          <p:spPr bwMode="gray">
            <a:xfrm>
              <a:off x="870" y="915"/>
              <a:ext cx="690" cy="690"/>
            </a:xfrm>
            <a:prstGeom prst="ellipse">
              <a:avLst/>
            </a:prstGeom>
            <a:noFill/>
            <a:ln w="38100">
              <a:solidFill>
                <a:srgbClr val="B1B5E1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 sz="875">
                <a:solidFill>
                  <a:srgbClr val="7F7F7F"/>
                </a:solidFill>
                <a:cs typeface="+mn-ea"/>
                <a:sym typeface="+mn-lt"/>
              </a:endParaRPr>
            </a:p>
          </p:txBody>
        </p:sp>
      </p:grpSp>
      <p:sp>
        <p:nvSpPr>
          <p:cNvPr id="30" name="TextBox 70"/>
          <p:cNvSpPr txBox="1"/>
          <p:nvPr/>
        </p:nvSpPr>
        <p:spPr>
          <a:xfrm>
            <a:off x="7067640" y="2816092"/>
            <a:ext cx="749024" cy="32194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altLang="zh-CN" sz="1500" b="1" dirty="0">
                <a:solidFill>
                  <a:srgbClr val="7F7F7F"/>
                </a:solidFill>
                <a:cs typeface="+mn-ea"/>
                <a:sym typeface="+mn-lt"/>
              </a:rPr>
              <a:t>Title</a:t>
            </a:r>
            <a:endParaRPr lang="zh-CN" altLang="en-US" sz="1500" b="1" dirty="0">
              <a:solidFill>
                <a:srgbClr val="7F7F7F"/>
              </a:solidFill>
              <a:cs typeface="+mn-ea"/>
              <a:sym typeface="+mn-lt"/>
            </a:endParaRPr>
          </a:p>
        </p:txBody>
      </p:sp>
      <p:sp>
        <p:nvSpPr>
          <p:cNvPr id="31" name="TextBox 74"/>
          <p:cNvSpPr txBox="1"/>
          <p:nvPr/>
        </p:nvSpPr>
        <p:spPr>
          <a:xfrm>
            <a:off x="1486492" y="2615008"/>
            <a:ext cx="5370382" cy="517065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1200" dirty="0">
                <a:solidFill>
                  <a:srgbClr val="7F7F7F"/>
                </a:solidFill>
                <a:cs typeface="+mn-ea"/>
                <a:sym typeface="+mn-lt"/>
              </a:rPr>
              <a:t>Click here to add text content, such as keywords, some brief introductions, etc.</a:t>
            </a:r>
            <a:endParaRPr lang="zh-CN" altLang="en-US" sz="1200" dirty="0">
              <a:solidFill>
                <a:srgbClr val="7F7F7F"/>
              </a:solidFill>
              <a:cs typeface="+mn-ea"/>
              <a:sym typeface="+mn-lt"/>
            </a:endParaRPr>
          </a:p>
          <a:p>
            <a:pPr>
              <a:defRPr/>
            </a:pPr>
            <a:endParaRPr lang="zh-CN" altLang="en-US" sz="1200" dirty="0">
              <a:solidFill>
                <a:srgbClr val="7F7F7F"/>
              </a:solidFill>
              <a:cs typeface="+mn-ea"/>
              <a:sym typeface="+mn-lt"/>
            </a:endParaRPr>
          </a:p>
        </p:txBody>
      </p:sp>
      <p:pic>
        <p:nvPicPr>
          <p:cNvPr id="32" name="图片 31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366"/>
          <a:stretch>
            <a:fillRect/>
          </a:stretch>
        </p:blipFill>
        <p:spPr>
          <a:xfrm>
            <a:off x="7150735" y="2532380"/>
            <a:ext cx="499745" cy="469265"/>
          </a:xfrm>
          <a:prstGeom prst="rect">
            <a:avLst/>
          </a:prstGeom>
        </p:spPr>
      </p:pic>
      <p:sp>
        <p:nvSpPr>
          <p:cNvPr id="33" name="圆角矩形 32"/>
          <p:cNvSpPr/>
          <p:nvPr/>
        </p:nvSpPr>
        <p:spPr>
          <a:xfrm>
            <a:off x="1168137" y="3566415"/>
            <a:ext cx="5840009" cy="642439"/>
          </a:xfrm>
          <a:prstGeom prst="roundRect">
            <a:avLst/>
          </a:prstGeom>
          <a:noFill/>
          <a:ln w="60325" cap="flat" cmpd="sng" algn="ctr">
            <a:solidFill>
              <a:srgbClr val="ADACC8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zh-CN" altLang="en-US" sz="875">
              <a:solidFill>
                <a:srgbClr val="7F7F7F"/>
              </a:solidFill>
              <a:cs typeface="+mn-ea"/>
              <a:sym typeface="+mn-lt"/>
            </a:endParaRPr>
          </a:p>
        </p:txBody>
      </p:sp>
      <p:grpSp>
        <p:nvGrpSpPr>
          <p:cNvPr id="34" name="Group 5"/>
          <p:cNvGrpSpPr/>
          <p:nvPr/>
        </p:nvGrpSpPr>
        <p:grpSpPr bwMode="auto">
          <a:xfrm>
            <a:off x="533251" y="3377253"/>
            <a:ext cx="927363" cy="926777"/>
            <a:chOff x="802" y="845"/>
            <a:chExt cx="827" cy="826"/>
          </a:xfrm>
        </p:grpSpPr>
        <p:sp>
          <p:nvSpPr>
            <p:cNvPr id="35" name="Oval 6"/>
            <p:cNvSpPr>
              <a:spLocks noChangeArrowheads="1"/>
            </p:cNvSpPr>
            <p:nvPr/>
          </p:nvSpPr>
          <p:spPr bwMode="ltGray">
            <a:xfrm>
              <a:off x="802" y="845"/>
              <a:ext cx="827" cy="826"/>
            </a:xfrm>
            <a:prstGeom prst="ellipse">
              <a:avLst/>
            </a:prstGeom>
            <a:solidFill>
              <a:srgbClr val="F8F8F8"/>
            </a:solidFill>
            <a:ln w="38100">
              <a:solidFill>
                <a:srgbClr val="ADACC8"/>
              </a:solidFill>
              <a:round/>
            </a:ln>
          </p:spPr>
          <p:txBody>
            <a:bodyPr wrap="none" anchor="ctr"/>
            <a:lstStyle/>
            <a:p>
              <a:endParaRPr lang="zh-CN" altLang="en-US" sz="875">
                <a:solidFill>
                  <a:srgbClr val="7F7F7F"/>
                </a:solidFill>
                <a:cs typeface="+mn-ea"/>
                <a:sym typeface="+mn-lt"/>
              </a:endParaRPr>
            </a:p>
          </p:txBody>
        </p:sp>
        <p:sp>
          <p:nvSpPr>
            <p:cNvPr id="36" name="Oval 7"/>
            <p:cNvSpPr>
              <a:spLocks noChangeArrowheads="1"/>
            </p:cNvSpPr>
            <p:nvPr/>
          </p:nvSpPr>
          <p:spPr bwMode="ltGray">
            <a:xfrm>
              <a:off x="836" y="879"/>
              <a:ext cx="758" cy="758"/>
            </a:xfrm>
            <a:prstGeom prst="ellipse">
              <a:avLst/>
            </a:prstGeom>
            <a:solidFill>
              <a:srgbClr val="FFFFFF"/>
            </a:solidFill>
            <a:ln w="38100">
              <a:solidFill>
                <a:srgbClr val="ADACC8"/>
              </a:solidFill>
              <a:round/>
            </a:ln>
          </p:spPr>
          <p:txBody>
            <a:bodyPr wrap="none" anchor="ctr"/>
            <a:lstStyle/>
            <a:p>
              <a:endParaRPr lang="zh-CN" altLang="en-US" sz="875">
                <a:solidFill>
                  <a:srgbClr val="7F7F7F"/>
                </a:solidFill>
                <a:cs typeface="+mn-ea"/>
                <a:sym typeface="+mn-lt"/>
              </a:endParaRPr>
            </a:p>
          </p:txBody>
        </p:sp>
        <p:sp>
          <p:nvSpPr>
            <p:cNvPr id="37" name="Oval 8"/>
            <p:cNvSpPr>
              <a:spLocks noChangeArrowheads="1"/>
            </p:cNvSpPr>
            <p:nvPr/>
          </p:nvSpPr>
          <p:spPr bwMode="ltGray">
            <a:xfrm>
              <a:off x="870" y="915"/>
              <a:ext cx="690" cy="690"/>
            </a:xfrm>
            <a:prstGeom prst="ellipse">
              <a:avLst/>
            </a:prstGeom>
            <a:noFill/>
            <a:ln w="38100">
              <a:solidFill>
                <a:srgbClr val="ADACC8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endParaRPr lang="zh-CN" altLang="en-US" sz="875">
                <a:solidFill>
                  <a:srgbClr val="7F7F7F"/>
                </a:solidFill>
                <a:cs typeface="+mn-ea"/>
                <a:sym typeface="+mn-lt"/>
              </a:endParaRPr>
            </a:p>
          </p:txBody>
        </p:sp>
      </p:grpSp>
      <p:sp>
        <p:nvSpPr>
          <p:cNvPr id="38" name="TextBox 69"/>
          <p:cNvSpPr txBox="1"/>
          <p:nvPr/>
        </p:nvSpPr>
        <p:spPr>
          <a:xfrm>
            <a:off x="550908" y="3836505"/>
            <a:ext cx="909529" cy="32194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altLang="zh-CN" sz="1500" b="1" dirty="0">
                <a:solidFill>
                  <a:srgbClr val="7F7F7F"/>
                </a:solidFill>
                <a:cs typeface="+mn-ea"/>
                <a:sym typeface="+mn-lt"/>
              </a:rPr>
              <a:t>Title</a:t>
            </a:r>
            <a:endParaRPr lang="zh-CN" altLang="en-US" sz="1500" b="1" dirty="0">
              <a:solidFill>
                <a:srgbClr val="7F7F7F"/>
              </a:solidFill>
              <a:cs typeface="+mn-ea"/>
              <a:sym typeface="+mn-lt"/>
            </a:endParaRPr>
          </a:p>
        </p:txBody>
      </p:sp>
      <p:sp>
        <p:nvSpPr>
          <p:cNvPr id="39" name="TextBox 73"/>
          <p:cNvSpPr txBox="1"/>
          <p:nvPr/>
        </p:nvSpPr>
        <p:spPr>
          <a:xfrm>
            <a:off x="1549784" y="3647075"/>
            <a:ext cx="5353738" cy="31303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lnSpc>
                <a:spcPct val="130000"/>
              </a:lnSpc>
            </a:pPr>
            <a:r>
              <a:rPr lang="en-US" altLang="zh-CN" sz="1200" dirty="0">
                <a:solidFill>
                  <a:srgbClr val="7F7F7F"/>
                </a:solidFill>
                <a:cs typeface="+mn-ea"/>
                <a:sym typeface="+mn-lt"/>
              </a:rPr>
              <a:t>Click here to add text content, such as keywords, some brief introductions, etc.</a:t>
            </a:r>
            <a:endParaRPr lang="zh-CN" altLang="en-US" sz="1200" dirty="0">
              <a:solidFill>
                <a:srgbClr val="7F7F7F"/>
              </a:solidFill>
              <a:cs typeface="+mn-ea"/>
              <a:sym typeface="+mn-lt"/>
            </a:endParaRPr>
          </a:p>
        </p:txBody>
      </p:sp>
      <p:pic>
        <p:nvPicPr>
          <p:cNvPr id="40" name="图片 39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366"/>
          <a:stretch>
            <a:fillRect/>
          </a:stretch>
        </p:blipFill>
        <p:spPr>
          <a:xfrm>
            <a:off x="755650" y="3514725"/>
            <a:ext cx="499745" cy="469265"/>
          </a:xfrm>
          <a:prstGeom prst="rect">
            <a:avLst/>
          </a:prstGeom>
        </p:spPr>
      </p:pic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400" tmFilter="0,0; .5, 1; 1, 1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120"/>
                            </p:stCondLst>
                            <p:childTnLst>
                              <p:par>
                                <p:cTn id="13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00"/>
                            </p:stCondLst>
                            <p:childTnLst>
                              <p:par>
                                <p:cTn id="57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2" grpId="0" bldLvl="0" animBg="1"/>
      <p:bldP spid="13" grpId="0"/>
      <p:bldP spid="14" grpId="0"/>
      <p:bldP spid="21" grpId="0" bldLvl="0" animBg="1"/>
      <p:bldP spid="30" grpId="0"/>
      <p:bldP spid="31" grpId="0"/>
      <p:bldP spid="33" grpId="0" bldLvl="0" animBg="1"/>
      <p:bldP spid="38" grpId="0"/>
      <p:bldP spid="3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31"/>
          <p:cNvSpPr txBox="1"/>
          <p:nvPr/>
        </p:nvSpPr>
        <p:spPr>
          <a:xfrm>
            <a:off x="1967706" y="156035"/>
            <a:ext cx="5208588" cy="646331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defPPr>
              <a:defRPr lang="zh-CN"/>
            </a:defPPr>
            <a:lvl1pPr lvl="0">
              <a:defRPr sz="3600" b="1">
                <a:solidFill>
                  <a:schemeClr val="accent2"/>
                </a:solidFill>
                <a:cs typeface="+mn-ea"/>
              </a:defRPr>
            </a:lvl1pPr>
          </a:lstStyle>
          <a:p>
            <a:pPr algn="ctr"/>
            <a:r>
              <a:rPr lang="en-US" altLang="zh-CN" dirty="0">
                <a:sym typeface="+mn-lt"/>
              </a:rPr>
              <a:t>Instructional Design</a:t>
            </a:r>
            <a:endParaRPr lang="zh-CN" altLang="en-US" dirty="0">
              <a:sym typeface="+mn-lt"/>
            </a:endParaRPr>
          </a:p>
        </p:txBody>
      </p:sp>
      <p:grpSp>
        <p:nvGrpSpPr>
          <p:cNvPr id="2" name="Group 57"/>
          <p:cNvGrpSpPr/>
          <p:nvPr/>
        </p:nvGrpSpPr>
        <p:grpSpPr>
          <a:xfrm>
            <a:off x="874656" y="1501636"/>
            <a:ext cx="3054563" cy="2712179"/>
            <a:chOff x="5625793" y="1599766"/>
            <a:chExt cx="4594903" cy="4080928"/>
          </a:xfrm>
          <a:solidFill>
            <a:srgbClr val="DC4415"/>
          </a:solidFill>
        </p:grpSpPr>
        <p:grpSp>
          <p:nvGrpSpPr>
            <p:cNvPr id="3" name="Group 58"/>
            <p:cNvGrpSpPr/>
            <p:nvPr/>
          </p:nvGrpSpPr>
          <p:grpSpPr>
            <a:xfrm>
              <a:off x="6191250" y="1599766"/>
              <a:ext cx="3473482" cy="1069614"/>
              <a:chOff x="6191250" y="1599766"/>
              <a:chExt cx="3473482" cy="1069614"/>
            </a:xfrm>
            <a:grpFill/>
          </p:grpSpPr>
          <p:sp>
            <p:nvSpPr>
              <p:cNvPr id="4" name="Freeform 64"/>
              <p:cNvSpPr/>
              <p:nvPr/>
            </p:nvSpPr>
            <p:spPr bwMode="auto">
              <a:xfrm>
                <a:off x="6191250" y="1599766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solidFill>
                <a:srgbClr val="ADACC8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<a:noAutofit/>
              </a:bodyPr>
              <a:lstStyle/>
              <a:p>
                <a:pPr algn="ctr" defTabSz="6985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spc="-38" dirty="0">
                  <a:solidFill>
                    <a:srgbClr val="ADACC8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5" name="Freeform 65"/>
              <p:cNvSpPr/>
              <p:nvPr/>
            </p:nvSpPr>
            <p:spPr bwMode="auto">
              <a:xfrm flipH="1">
                <a:off x="8043101" y="1599766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<a:noAutofit/>
              </a:bodyPr>
              <a:lstStyle/>
              <a:p>
                <a:pPr algn="ctr" defTabSz="6985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spc="-38" dirty="0">
                  <a:solidFill>
                    <a:srgbClr val="ADACC8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6" name="Group 59"/>
            <p:cNvGrpSpPr/>
            <p:nvPr/>
          </p:nvGrpSpPr>
          <p:grpSpPr>
            <a:xfrm flipV="1">
              <a:off x="6191251" y="4611080"/>
              <a:ext cx="3473482" cy="1069614"/>
              <a:chOff x="6191251" y="1599766"/>
              <a:chExt cx="3473482" cy="1069614"/>
            </a:xfrm>
            <a:grpFill/>
          </p:grpSpPr>
          <p:sp>
            <p:nvSpPr>
              <p:cNvPr id="8" name="Freeform 62"/>
              <p:cNvSpPr/>
              <p:nvPr/>
            </p:nvSpPr>
            <p:spPr bwMode="auto">
              <a:xfrm>
                <a:off x="6191251" y="1599766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solidFill>
                <a:srgbClr val="ADACC8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<a:noAutofit/>
              </a:bodyPr>
              <a:lstStyle/>
              <a:p>
                <a:pPr algn="ctr" defTabSz="6985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spc="-38" dirty="0">
                  <a:solidFill>
                    <a:srgbClr val="ADACC8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" name="Freeform 63"/>
              <p:cNvSpPr/>
              <p:nvPr/>
            </p:nvSpPr>
            <p:spPr bwMode="auto">
              <a:xfrm flipH="1">
                <a:off x="8043102" y="1599766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<a:noAutofit/>
              </a:bodyPr>
              <a:lstStyle/>
              <a:p>
                <a:pPr algn="ctr" defTabSz="6985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400" spc="-38" dirty="0">
                  <a:solidFill>
                    <a:srgbClr val="ADACC8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Freeform 60"/>
            <p:cNvSpPr/>
            <p:nvPr/>
          </p:nvSpPr>
          <p:spPr bwMode="auto">
            <a:xfrm rot="17954294">
              <a:off x="5349784" y="3127550"/>
              <a:ext cx="1621631" cy="1069614"/>
            </a:xfrm>
            <a:custGeom>
              <a:avLst/>
              <a:gdLst>
                <a:gd name="connsiteX0" fmla="*/ 668844 w 4158105"/>
                <a:gd name="connsiteY0" fmla="*/ 1079241 h 4110786"/>
                <a:gd name="connsiteX1" fmla="*/ 671967 w 4158105"/>
                <a:gd name="connsiteY1" fmla="*/ 1081087 h 4110786"/>
                <a:gd name="connsiteX2" fmla="*/ 576717 w 4158105"/>
                <a:gd name="connsiteY2" fmla="*/ 1235869 h 4110786"/>
                <a:gd name="connsiteX3" fmla="*/ 574232 w 4158105"/>
                <a:gd name="connsiteY3" fmla="*/ 1234330 h 4110786"/>
                <a:gd name="connsiteX4" fmla="*/ 668844 w 4158105"/>
                <a:gd name="connsiteY4" fmla="*/ 1079241 h 4110786"/>
                <a:gd name="connsiteX5" fmla="*/ 398124 w 4158105"/>
                <a:gd name="connsiteY5" fmla="*/ 919162 h 4110786"/>
                <a:gd name="connsiteX6" fmla="*/ 399753 w 4158105"/>
                <a:gd name="connsiteY6" fmla="*/ 920125 h 4110786"/>
                <a:gd name="connsiteX7" fmla="*/ 308772 w 4158105"/>
                <a:gd name="connsiteY7" fmla="*/ 1069886 h 4110786"/>
                <a:gd name="connsiteX8" fmla="*/ 307636 w 4158105"/>
                <a:gd name="connsiteY8" fmla="*/ 1069182 h 4110786"/>
                <a:gd name="connsiteX9" fmla="*/ 398124 w 4158105"/>
                <a:gd name="connsiteY9" fmla="*/ 919162 h 4110786"/>
                <a:gd name="connsiteX10" fmla="*/ 2106264 w 4158105"/>
                <a:gd name="connsiteY10" fmla="*/ 319178 h 4110786"/>
                <a:gd name="connsiteX11" fmla="*/ 2198792 w 4158105"/>
                <a:gd name="connsiteY11" fmla="*/ 323850 h 4110786"/>
                <a:gd name="connsiteX12" fmla="*/ 2019755 w 4158105"/>
                <a:gd name="connsiteY12" fmla="*/ 323850 h 4110786"/>
                <a:gd name="connsiteX13" fmla="*/ 2019755 w 4158105"/>
                <a:gd name="connsiteY13" fmla="*/ 323546 h 4110786"/>
                <a:gd name="connsiteX14" fmla="*/ 2106264 w 4158105"/>
                <a:gd name="connsiteY14" fmla="*/ 319178 h 4110786"/>
                <a:gd name="connsiteX15" fmla="*/ 2224351 w 4158105"/>
                <a:gd name="connsiteY15" fmla="*/ 13068 h 4110786"/>
                <a:gd name="connsiteX16" fmla="*/ 4158105 w 4158105"/>
                <a:gd name="connsiteY16" fmla="*/ 2058946 h 4110786"/>
                <a:gd name="connsiteX17" fmla="*/ 2106265 w 4158105"/>
                <a:gd name="connsiteY17" fmla="*/ 4110786 h 4110786"/>
                <a:gd name="connsiteX18" fmla="*/ 54424 w 4158105"/>
                <a:gd name="connsiteY18" fmla="*/ 2058946 h 4110786"/>
                <a:gd name="connsiteX19" fmla="*/ 574232 w 4158105"/>
                <a:gd name="connsiteY19" fmla="*/ 1234330 h 4110786"/>
                <a:gd name="connsiteX20" fmla="*/ 366497 w 4158105"/>
                <a:gd name="connsiteY20" fmla="*/ 2058945 h 4110786"/>
                <a:gd name="connsiteX21" fmla="*/ 2106264 w 4158105"/>
                <a:gd name="connsiteY21" fmla="*/ 3798712 h 4110786"/>
                <a:gd name="connsiteX22" fmla="*/ 3846030 w 4158105"/>
                <a:gd name="connsiteY22" fmla="*/ 2058945 h 4110786"/>
                <a:gd name="connsiteX23" fmla="*/ 2198792 w 4158105"/>
                <a:gd name="connsiteY23" fmla="*/ 323850 h 4110786"/>
                <a:gd name="connsiteX24" fmla="*/ 2219780 w 4158105"/>
                <a:gd name="connsiteY24" fmla="*/ 323850 h 4110786"/>
                <a:gd name="connsiteX25" fmla="*/ 2224351 w 4158105"/>
                <a:gd name="connsiteY25" fmla="*/ 13068 h 4110786"/>
                <a:gd name="connsiteX26" fmla="*/ 2019755 w 4158105"/>
                <a:gd name="connsiteY26" fmla="*/ 11473 h 4110786"/>
                <a:gd name="connsiteX27" fmla="*/ 2019755 w 4158105"/>
                <a:gd name="connsiteY27" fmla="*/ 323546 h 4110786"/>
                <a:gd name="connsiteX28" fmla="*/ 668844 w 4158105"/>
                <a:gd name="connsiteY28" fmla="*/ 1079241 h 4110786"/>
                <a:gd name="connsiteX29" fmla="*/ 399753 w 4158105"/>
                <a:gd name="connsiteY29" fmla="*/ 920125 h 4110786"/>
                <a:gd name="connsiteX30" fmla="*/ 2019755 w 4158105"/>
                <a:gd name="connsiteY30" fmla="*/ 11473 h 4110786"/>
                <a:gd name="connsiteX31" fmla="*/ 2224543 w 4158105"/>
                <a:gd name="connsiteY31" fmla="*/ 0 h 4110786"/>
                <a:gd name="connsiteX32" fmla="*/ 2224351 w 4158105"/>
                <a:gd name="connsiteY32" fmla="*/ 13068 h 4110786"/>
                <a:gd name="connsiteX33" fmla="*/ 2106265 w 4158105"/>
                <a:gd name="connsiteY33" fmla="*/ 7105 h 4110786"/>
                <a:gd name="connsiteX34" fmla="*/ 2019755 w 4158105"/>
                <a:gd name="connsiteY34" fmla="*/ 11473 h 4110786"/>
                <a:gd name="connsiteX35" fmla="*/ 2019755 w 4158105"/>
                <a:gd name="connsiteY35" fmla="*/ 2381 h 4110786"/>
                <a:gd name="connsiteX36" fmla="*/ 2224543 w 4158105"/>
                <a:gd name="connsiteY36" fmla="*/ 0 h 4110786"/>
                <a:gd name="connsiteX0-1" fmla="*/ 668844 w 4158105"/>
                <a:gd name="connsiteY0-2" fmla="*/ 1079241 h 4110786"/>
                <a:gd name="connsiteX1-3" fmla="*/ 671967 w 4158105"/>
                <a:gd name="connsiteY1-4" fmla="*/ 1081087 h 4110786"/>
                <a:gd name="connsiteX2-5" fmla="*/ 576717 w 4158105"/>
                <a:gd name="connsiteY2-6" fmla="*/ 1235869 h 4110786"/>
                <a:gd name="connsiteX3-7" fmla="*/ 574232 w 4158105"/>
                <a:gd name="connsiteY3-8" fmla="*/ 1234330 h 4110786"/>
                <a:gd name="connsiteX4-9" fmla="*/ 668844 w 4158105"/>
                <a:gd name="connsiteY4-10" fmla="*/ 1079241 h 4110786"/>
                <a:gd name="connsiteX5-11" fmla="*/ 398124 w 4158105"/>
                <a:gd name="connsiteY5-12" fmla="*/ 919162 h 4110786"/>
                <a:gd name="connsiteX6-13" fmla="*/ 399753 w 4158105"/>
                <a:gd name="connsiteY6-14" fmla="*/ 920125 h 4110786"/>
                <a:gd name="connsiteX7-15" fmla="*/ 308772 w 4158105"/>
                <a:gd name="connsiteY7-16" fmla="*/ 1069886 h 4110786"/>
                <a:gd name="connsiteX8-17" fmla="*/ 398124 w 4158105"/>
                <a:gd name="connsiteY8-18" fmla="*/ 919162 h 4110786"/>
                <a:gd name="connsiteX9-19" fmla="*/ 2106264 w 4158105"/>
                <a:gd name="connsiteY9-20" fmla="*/ 319178 h 4110786"/>
                <a:gd name="connsiteX10-21" fmla="*/ 2198792 w 4158105"/>
                <a:gd name="connsiteY10-22" fmla="*/ 323850 h 4110786"/>
                <a:gd name="connsiteX11-23" fmla="*/ 2019755 w 4158105"/>
                <a:gd name="connsiteY11-24" fmla="*/ 323850 h 4110786"/>
                <a:gd name="connsiteX12-25" fmla="*/ 2019755 w 4158105"/>
                <a:gd name="connsiteY12-26" fmla="*/ 323546 h 4110786"/>
                <a:gd name="connsiteX13-27" fmla="*/ 2106264 w 4158105"/>
                <a:gd name="connsiteY13-28" fmla="*/ 319178 h 4110786"/>
                <a:gd name="connsiteX14-29" fmla="*/ 2224351 w 4158105"/>
                <a:gd name="connsiteY14-30" fmla="*/ 13068 h 4110786"/>
                <a:gd name="connsiteX15-31" fmla="*/ 4158105 w 4158105"/>
                <a:gd name="connsiteY15-32" fmla="*/ 2058946 h 4110786"/>
                <a:gd name="connsiteX16-33" fmla="*/ 2106265 w 4158105"/>
                <a:gd name="connsiteY16-34" fmla="*/ 4110786 h 4110786"/>
                <a:gd name="connsiteX17-35" fmla="*/ 54424 w 4158105"/>
                <a:gd name="connsiteY17-36" fmla="*/ 2058946 h 4110786"/>
                <a:gd name="connsiteX18-37" fmla="*/ 574232 w 4158105"/>
                <a:gd name="connsiteY18-38" fmla="*/ 1234330 h 4110786"/>
                <a:gd name="connsiteX19-39" fmla="*/ 366497 w 4158105"/>
                <a:gd name="connsiteY19-40" fmla="*/ 2058945 h 4110786"/>
                <a:gd name="connsiteX20-41" fmla="*/ 2106264 w 4158105"/>
                <a:gd name="connsiteY20-42" fmla="*/ 3798712 h 4110786"/>
                <a:gd name="connsiteX21-43" fmla="*/ 3846030 w 4158105"/>
                <a:gd name="connsiteY21-44" fmla="*/ 2058945 h 4110786"/>
                <a:gd name="connsiteX22-45" fmla="*/ 2198792 w 4158105"/>
                <a:gd name="connsiteY22-46" fmla="*/ 323850 h 4110786"/>
                <a:gd name="connsiteX23-47" fmla="*/ 2219780 w 4158105"/>
                <a:gd name="connsiteY23-48" fmla="*/ 323850 h 4110786"/>
                <a:gd name="connsiteX24-49" fmla="*/ 2224351 w 4158105"/>
                <a:gd name="connsiteY24-50" fmla="*/ 13068 h 4110786"/>
                <a:gd name="connsiteX25-51" fmla="*/ 2019755 w 4158105"/>
                <a:gd name="connsiteY25-52" fmla="*/ 11473 h 4110786"/>
                <a:gd name="connsiteX26-53" fmla="*/ 2019755 w 4158105"/>
                <a:gd name="connsiteY26-54" fmla="*/ 323546 h 4110786"/>
                <a:gd name="connsiteX27-55" fmla="*/ 668844 w 4158105"/>
                <a:gd name="connsiteY27-56" fmla="*/ 1079241 h 4110786"/>
                <a:gd name="connsiteX28-57" fmla="*/ 399753 w 4158105"/>
                <a:gd name="connsiteY28-58" fmla="*/ 920125 h 4110786"/>
                <a:gd name="connsiteX29-59" fmla="*/ 2019755 w 4158105"/>
                <a:gd name="connsiteY29-60" fmla="*/ 11473 h 4110786"/>
                <a:gd name="connsiteX30-61" fmla="*/ 2224543 w 4158105"/>
                <a:gd name="connsiteY30-62" fmla="*/ 0 h 4110786"/>
                <a:gd name="connsiteX31-63" fmla="*/ 2224351 w 4158105"/>
                <a:gd name="connsiteY31-64" fmla="*/ 13068 h 4110786"/>
                <a:gd name="connsiteX32-65" fmla="*/ 2106265 w 4158105"/>
                <a:gd name="connsiteY32-66" fmla="*/ 7105 h 4110786"/>
                <a:gd name="connsiteX33-67" fmla="*/ 2019755 w 4158105"/>
                <a:gd name="connsiteY33-68" fmla="*/ 11473 h 4110786"/>
                <a:gd name="connsiteX34-69" fmla="*/ 2019755 w 4158105"/>
                <a:gd name="connsiteY34-70" fmla="*/ 2381 h 4110786"/>
                <a:gd name="connsiteX35-71" fmla="*/ 2224543 w 4158105"/>
                <a:gd name="connsiteY35-72" fmla="*/ 0 h 4110786"/>
                <a:gd name="connsiteX0-73" fmla="*/ 668844 w 4158105"/>
                <a:gd name="connsiteY0-74" fmla="*/ 1079241 h 4110786"/>
                <a:gd name="connsiteX1-75" fmla="*/ 671967 w 4158105"/>
                <a:gd name="connsiteY1-76" fmla="*/ 1081087 h 4110786"/>
                <a:gd name="connsiteX2-77" fmla="*/ 576717 w 4158105"/>
                <a:gd name="connsiteY2-78" fmla="*/ 1235869 h 4110786"/>
                <a:gd name="connsiteX3-79" fmla="*/ 574232 w 4158105"/>
                <a:gd name="connsiteY3-80" fmla="*/ 1234330 h 4110786"/>
                <a:gd name="connsiteX4-81" fmla="*/ 668844 w 4158105"/>
                <a:gd name="connsiteY4-82" fmla="*/ 1079241 h 4110786"/>
                <a:gd name="connsiteX5-83" fmla="*/ 398124 w 4158105"/>
                <a:gd name="connsiteY5-84" fmla="*/ 919162 h 4110786"/>
                <a:gd name="connsiteX6-85" fmla="*/ 399753 w 4158105"/>
                <a:gd name="connsiteY6-86" fmla="*/ 920125 h 4110786"/>
                <a:gd name="connsiteX7-87" fmla="*/ 398124 w 4158105"/>
                <a:gd name="connsiteY7-88" fmla="*/ 919162 h 4110786"/>
                <a:gd name="connsiteX8-89" fmla="*/ 2106264 w 4158105"/>
                <a:gd name="connsiteY8-90" fmla="*/ 319178 h 4110786"/>
                <a:gd name="connsiteX9-91" fmla="*/ 2198792 w 4158105"/>
                <a:gd name="connsiteY9-92" fmla="*/ 323850 h 4110786"/>
                <a:gd name="connsiteX10-93" fmla="*/ 2019755 w 4158105"/>
                <a:gd name="connsiteY10-94" fmla="*/ 323850 h 4110786"/>
                <a:gd name="connsiteX11-95" fmla="*/ 2019755 w 4158105"/>
                <a:gd name="connsiteY11-96" fmla="*/ 323546 h 4110786"/>
                <a:gd name="connsiteX12-97" fmla="*/ 2106264 w 4158105"/>
                <a:gd name="connsiteY12-98" fmla="*/ 319178 h 4110786"/>
                <a:gd name="connsiteX13-99" fmla="*/ 2224351 w 4158105"/>
                <a:gd name="connsiteY13-100" fmla="*/ 13068 h 4110786"/>
                <a:gd name="connsiteX14-101" fmla="*/ 4158105 w 4158105"/>
                <a:gd name="connsiteY14-102" fmla="*/ 2058946 h 4110786"/>
                <a:gd name="connsiteX15-103" fmla="*/ 2106265 w 4158105"/>
                <a:gd name="connsiteY15-104" fmla="*/ 4110786 h 4110786"/>
                <a:gd name="connsiteX16-105" fmla="*/ 54424 w 4158105"/>
                <a:gd name="connsiteY16-106" fmla="*/ 2058946 h 4110786"/>
                <a:gd name="connsiteX17-107" fmla="*/ 574232 w 4158105"/>
                <a:gd name="connsiteY17-108" fmla="*/ 1234330 h 4110786"/>
                <a:gd name="connsiteX18-109" fmla="*/ 366497 w 4158105"/>
                <a:gd name="connsiteY18-110" fmla="*/ 2058945 h 4110786"/>
                <a:gd name="connsiteX19-111" fmla="*/ 2106264 w 4158105"/>
                <a:gd name="connsiteY19-112" fmla="*/ 3798712 h 4110786"/>
                <a:gd name="connsiteX20-113" fmla="*/ 3846030 w 4158105"/>
                <a:gd name="connsiteY20-114" fmla="*/ 2058945 h 4110786"/>
                <a:gd name="connsiteX21-115" fmla="*/ 2198792 w 4158105"/>
                <a:gd name="connsiteY21-116" fmla="*/ 323850 h 4110786"/>
                <a:gd name="connsiteX22-117" fmla="*/ 2219780 w 4158105"/>
                <a:gd name="connsiteY22-118" fmla="*/ 323850 h 4110786"/>
                <a:gd name="connsiteX23-119" fmla="*/ 2224351 w 4158105"/>
                <a:gd name="connsiteY23-120" fmla="*/ 13068 h 4110786"/>
                <a:gd name="connsiteX24-121" fmla="*/ 2019755 w 4158105"/>
                <a:gd name="connsiteY24-122" fmla="*/ 11473 h 4110786"/>
                <a:gd name="connsiteX25-123" fmla="*/ 2019755 w 4158105"/>
                <a:gd name="connsiteY25-124" fmla="*/ 323546 h 4110786"/>
                <a:gd name="connsiteX26-125" fmla="*/ 668844 w 4158105"/>
                <a:gd name="connsiteY26-126" fmla="*/ 1079241 h 4110786"/>
                <a:gd name="connsiteX27-127" fmla="*/ 399753 w 4158105"/>
                <a:gd name="connsiteY27-128" fmla="*/ 920125 h 4110786"/>
                <a:gd name="connsiteX28-129" fmla="*/ 2019755 w 4158105"/>
                <a:gd name="connsiteY28-130" fmla="*/ 11473 h 4110786"/>
                <a:gd name="connsiteX29-131" fmla="*/ 2224543 w 4158105"/>
                <a:gd name="connsiteY29-132" fmla="*/ 0 h 4110786"/>
                <a:gd name="connsiteX30-133" fmla="*/ 2224351 w 4158105"/>
                <a:gd name="connsiteY30-134" fmla="*/ 13068 h 4110786"/>
                <a:gd name="connsiteX31-135" fmla="*/ 2106265 w 4158105"/>
                <a:gd name="connsiteY31-136" fmla="*/ 7105 h 4110786"/>
                <a:gd name="connsiteX32-137" fmla="*/ 2019755 w 4158105"/>
                <a:gd name="connsiteY32-138" fmla="*/ 11473 h 4110786"/>
                <a:gd name="connsiteX33-139" fmla="*/ 2019755 w 4158105"/>
                <a:gd name="connsiteY33-140" fmla="*/ 2381 h 4110786"/>
                <a:gd name="connsiteX34-141" fmla="*/ 2224543 w 4158105"/>
                <a:gd name="connsiteY34-142" fmla="*/ 0 h 4110786"/>
                <a:gd name="connsiteX0-143" fmla="*/ 739525 w 4228786"/>
                <a:gd name="connsiteY0-144" fmla="*/ 1079241 h 4110786"/>
                <a:gd name="connsiteX1-145" fmla="*/ 742648 w 4228786"/>
                <a:gd name="connsiteY1-146" fmla="*/ 1081087 h 4110786"/>
                <a:gd name="connsiteX2-147" fmla="*/ 647398 w 4228786"/>
                <a:gd name="connsiteY2-148" fmla="*/ 1235869 h 4110786"/>
                <a:gd name="connsiteX3-149" fmla="*/ 644913 w 4228786"/>
                <a:gd name="connsiteY3-150" fmla="*/ 1234330 h 4110786"/>
                <a:gd name="connsiteX4-151" fmla="*/ 739525 w 4228786"/>
                <a:gd name="connsiteY4-152" fmla="*/ 1079241 h 4110786"/>
                <a:gd name="connsiteX5-153" fmla="*/ 468805 w 4228786"/>
                <a:gd name="connsiteY5-154" fmla="*/ 919162 h 4110786"/>
                <a:gd name="connsiteX6-155" fmla="*/ 470434 w 4228786"/>
                <a:gd name="connsiteY6-156" fmla="*/ 920125 h 4110786"/>
                <a:gd name="connsiteX7-157" fmla="*/ 468805 w 4228786"/>
                <a:gd name="connsiteY7-158" fmla="*/ 919162 h 4110786"/>
                <a:gd name="connsiteX8-159" fmla="*/ 2176945 w 4228786"/>
                <a:gd name="connsiteY8-160" fmla="*/ 319178 h 4110786"/>
                <a:gd name="connsiteX9-161" fmla="*/ 2269473 w 4228786"/>
                <a:gd name="connsiteY9-162" fmla="*/ 323850 h 4110786"/>
                <a:gd name="connsiteX10-163" fmla="*/ 2090436 w 4228786"/>
                <a:gd name="connsiteY10-164" fmla="*/ 323850 h 4110786"/>
                <a:gd name="connsiteX11-165" fmla="*/ 2090436 w 4228786"/>
                <a:gd name="connsiteY11-166" fmla="*/ 323546 h 4110786"/>
                <a:gd name="connsiteX12-167" fmla="*/ 2176945 w 4228786"/>
                <a:gd name="connsiteY12-168" fmla="*/ 319178 h 4110786"/>
                <a:gd name="connsiteX13-169" fmla="*/ 2295032 w 4228786"/>
                <a:gd name="connsiteY13-170" fmla="*/ 13068 h 4110786"/>
                <a:gd name="connsiteX14-171" fmla="*/ 4228786 w 4228786"/>
                <a:gd name="connsiteY14-172" fmla="*/ 2058946 h 4110786"/>
                <a:gd name="connsiteX15-173" fmla="*/ 2176946 w 4228786"/>
                <a:gd name="connsiteY15-174" fmla="*/ 4110786 h 4110786"/>
                <a:gd name="connsiteX16-175" fmla="*/ 125105 w 4228786"/>
                <a:gd name="connsiteY16-176" fmla="*/ 2058946 h 4110786"/>
                <a:gd name="connsiteX17-177" fmla="*/ 437178 w 4228786"/>
                <a:gd name="connsiteY17-178" fmla="*/ 2058945 h 4110786"/>
                <a:gd name="connsiteX18-179" fmla="*/ 2176945 w 4228786"/>
                <a:gd name="connsiteY18-180" fmla="*/ 3798712 h 4110786"/>
                <a:gd name="connsiteX19-181" fmla="*/ 3916711 w 4228786"/>
                <a:gd name="connsiteY19-182" fmla="*/ 2058945 h 4110786"/>
                <a:gd name="connsiteX20-183" fmla="*/ 2269473 w 4228786"/>
                <a:gd name="connsiteY20-184" fmla="*/ 323850 h 4110786"/>
                <a:gd name="connsiteX21-185" fmla="*/ 2290461 w 4228786"/>
                <a:gd name="connsiteY21-186" fmla="*/ 323850 h 4110786"/>
                <a:gd name="connsiteX22-187" fmla="*/ 2295032 w 4228786"/>
                <a:gd name="connsiteY22-188" fmla="*/ 13068 h 4110786"/>
                <a:gd name="connsiteX23-189" fmla="*/ 2090436 w 4228786"/>
                <a:gd name="connsiteY23-190" fmla="*/ 11473 h 4110786"/>
                <a:gd name="connsiteX24-191" fmla="*/ 2090436 w 4228786"/>
                <a:gd name="connsiteY24-192" fmla="*/ 323546 h 4110786"/>
                <a:gd name="connsiteX25-193" fmla="*/ 739525 w 4228786"/>
                <a:gd name="connsiteY25-194" fmla="*/ 1079241 h 4110786"/>
                <a:gd name="connsiteX26-195" fmla="*/ 470434 w 4228786"/>
                <a:gd name="connsiteY26-196" fmla="*/ 920125 h 4110786"/>
                <a:gd name="connsiteX27-197" fmla="*/ 2090436 w 4228786"/>
                <a:gd name="connsiteY27-198" fmla="*/ 11473 h 4110786"/>
                <a:gd name="connsiteX28-199" fmla="*/ 2295224 w 4228786"/>
                <a:gd name="connsiteY28-200" fmla="*/ 0 h 4110786"/>
                <a:gd name="connsiteX29-201" fmla="*/ 2295032 w 4228786"/>
                <a:gd name="connsiteY29-202" fmla="*/ 13068 h 4110786"/>
                <a:gd name="connsiteX30-203" fmla="*/ 2176946 w 4228786"/>
                <a:gd name="connsiteY30-204" fmla="*/ 7105 h 4110786"/>
                <a:gd name="connsiteX31-205" fmla="*/ 2090436 w 4228786"/>
                <a:gd name="connsiteY31-206" fmla="*/ 11473 h 4110786"/>
                <a:gd name="connsiteX32-207" fmla="*/ 2090436 w 4228786"/>
                <a:gd name="connsiteY32-208" fmla="*/ 2381 h 4110786"/>
                <a:gd name="connsiteX33-209" fmla="*/ 2295224 w 4228786"/>
                <a:gd name="connsiteY33-210" fmla="*/ 0 h 4110786"/>
                <a:gd name="connsiteX0-211" fmla="*/ 739525 w 4228786"/>
                <a:gd name="connsiteY0-212" fmla="*/ 1079241 h 4110786"/>
                <a:gd name="connsiteX1-213" fmla="*/ 742648 w 4228786"/>
                <a:gd name="connsiteY1-214" fmla="*/ 1081087 h 4110786"/>
                <a:gd name="connsiteX2-215" fmla="*/ 647398 w 4228786"/>
                <a:gd name="connsiteY2-216" fmla="*/ 1235869 h 4110786"/>
                <a:gd name="connsiteX3-217" fmla="*/ 739525 w 4228786"/>
                <a:gd name="connsiteY3-218" fmla="*/ 1079241 h 4110786"/>
                <a:gd name="connsiteX4-219" fmla="*/ 468805 w 4228786"/>
                <a:gd name="connsiteY4-220" fmla="*/ 919162 h 4110786"/>
                <a:gd name="connsiteX5-221" fmla="*/ 470434 w 4228786"/>
                <a:gd name="connsiteY5-222" fmla="*/ 920125 h 4110786"/>
                <a:gd name="connsiteX6-223" fmla="*/ 468805 w 4228786"/>
                <a:gd name="connsiteY6-224" fmla="*/ 919162 h 4110786"/>
                <a:gd name="connsiteX7-225" fmla="*/ 2176945 w 4228786"/>
                <a:gd name="connsiteY7-226" fmla="*/ 319178 h 4110786"/>
                <a:gd name="connsiteX8-227" fmla="*/ 2269473 w 4228786"/>
                <a:gd name="connsiteY8-228" fmla="*/ 323850 h 4110786"/>
                <a:gd name="connsiteX9-229" fmla="*/ 2090436 w 4228786"/>
                <a:gd name="connsiteY9-230" fmla="*/ 323850 h 4110786"/>
                <a:gd name="connsiteX10-231" fmla="*/ 2090436 w 4228786"/>
                <a:gd name="connsiteY10-232" fmla="*/ 323546 h 4110786"/>
                <a:gd name="connsiteX11-233" fmla="*/ 2176945 w 4228786"/>
                <a:gd name="connsiteY11-234" fmla="*/ 319178 h 4110786"/>
                <a:gd name="connsiteX12-235" fmla="*/ 2295032 w 4228786"/>
                <a:gd name="connsiteY12-236" fmla="*/ 13068 h 4110786"/>
                <a:gd name="connsiteX13-237" fmla="*/ 4228786 w 4228786"/>
                <a:gd name="connsiteY13-238" fmla="*/ 2058946 h 4110786"/>
                <a:gd name="connsiteX14-239" fmla="*/ 2176946 w 4228786"/>
                <a:gd name="connsiteY14-240" fmla="*/ 4110786 h 4110786"/>
                <a:gd name="connsiteX15-241" fmla="*/ 125105 w 4228786"/>
                <a:gd name="connsiteY15-242" fmla="*/ 2058946 h 4110786"/>
                <a:gd name="connsiteX16-243" fmla="*/ 437178 w 4228786"/>
                <a:gd name="connsiteY16-244" fmla="*/ 2058945 h 4110786"/>
                <a:gd name="connsiteX17-245" fmla="*/ 2176945 w 4228786"/>
                <a:gd name="connsiteY17-246" fmla="*/ 3798712 h 4110786"/>
                <a:gd name="connsiteX18-247" fmla="*/ 3916711 w 4228786"/>
                <a:gd name="connsiteY18-248" fmla="*/ 2058945 h 4110786"/>
                <a:gd name="connsiteX19-249" fmla="*/ 2269473 w 4228786"/>
                <a:gd name="connsiteY19-250" fmla="*/ 323850 h 4110786"/>
                <a:gd name="connsiteX20-251" fmla="*/ 2290461 w 4228786"/>
                <a:gd name="connsiteY20-252" fmla="*/ 323850 h 4110786"/>
                <a:gd name="connsiteX21-253" fmla="*/ 2295032 w 4228786"/>
                <a:gd name="connsiteY21-254" fmla="*/ 13068 h 4110786"/>
                <a:gd name="connsiteX22-255" fmla="*/ 2090436 w 4228786"/>
                <a:gd name="connsiteY22-256" fmla="*/ 11473 h 4110786"/>
                <a:gd name="connsiteX23-257" fmla="*/ 2090436 w 4228786"/>
                <a:gd name="connsiteY23-258" fmla="*/ 323546 h 4110786"/>
                <a:gd name="connsiteX24-259" fmla="*/ 739525 w 4228786"/>
                <a:gd name="connsiteY24-260" fmla="*/ 1079241 h 4110786"/>
                <a:gd name="connsiteX25-261" fmla="*/ 470434 w 4228786"/>
                <a:gd name="connsiteY25-262" fmla="*/ 920125 h 4110786"/>
                <a:gd name="connsiteX26-263" fmla="*/ 2090436 w 4228786"/>
                <a:gd name="connsiteY26-264" fmla="*/ 11473 h 4110786"/>
                <a:gd name="connsiteX27-265" fmla="*/ 2295224 w 4228786"/>
                <a:gd name="connsiteY27-266" fmla="*/ 0 h 4110786"/>
                <a:gd name="connsiteX28-267" fmla="*/ 2295032 w 4228786"/>
                <a:gd name="connsiteY28-268" fmla="*/ 13068 h 4110786"/>
                <a:gd name="connsiteX29-269" fmla="*/ 2176946 w 4228786"/>
                <a:gd name="connsiteY29-270" fmla="*/ 7105 h 4110786"/>
                <a:gd name="connsiteX30-271" fmla="*/ 2090436 w 4228786"/>
                <a:gd name="connsiteY30-272" fmla="*/ 11473 h 4110786"/>
                <a:gd name="connsiteX31-273" fmla="*/ 2090436 w 4228786"/>
                <a:gd name="connsiteY31-274" fmla="*/ 2381 h 4110786"/>
                <a:gd name="connsiteX32-275" fmla="*/ 2295224 w 4228786"/>
                <a:gd name="connsiteY32-276" fmla="*/ 0 h 4110786"/>
                <a:gd name="connsiteX0-277" fmla="*/ 739525 w 4228786"/>
                <a:gd name="connsiteY0-278" fmla="*/ 1079241 h 4110786"/>
                <a:gd name="connsiteX1-279" fmla="*/ 742648 w 4228786"/>
                <a:gd name="connsiteY1-280" fmla="*/ 1081087 h 4110786"/>
                <a:gd name="connsiteX2-281" fmla="*/ 739525 w 4228786"/>
                <a:gd name="connsiteY2-282" fmla="*/ 1079241 h 4110786"/>
                <a:gd name="connsiteX3-283" fmla="*/ 468805 w 4228786"/>
                <a:gd name="connsiteY3-284" fmla="*/ 919162 h 4110786"/>
                <a:gd name="connsiteX4-285" fmla="*/ 470434 w 4228786"/>
                <a:gd name="connsiteY4-286" fmla="*/ 920125 h 4110786"/>
                <a:gd name="connsiteX5-287" fmla="*/ 468805 w 4228786"/>
                <a:gd name="connsiteY5-288" fmla="*/ 919162 h 4110786"/>
                <a:gd name="connsiteX6-289" fmla="*/ 2176945 w 4228786"/>
                <a:gd name="connsiteY6-290" fmla="*/ 319178 h 4110786"/>
                <a:gd name="connsiteX7-291" fmla="*/ 2269473 w 4228786"/>
                <a:gd name="connsiteY7-292" fmla="*/ 323850 h 4110786"/>
                <a:gd name="connsiteX8-293" fmla="*/ 2090436 w 4228786"/>
                <a:gd name="connsiteY8-294" fmla="*/ 323850 h 4110786"/>
                <a:gd name="connsiteX9-295" fmla="*/ 2090436 w 4228786"/>
                <a:gd name="connsiteY9-296" fmla="*/ 323546 h 4110786"/>
                <a:gd name="connsiteX10-297" fmla="*/ 2176945 w 4228786"/>
                <a:gd name="connsiteY10-298" fmla="*/ 319178 h 4110786"/>
                <a:gd name="connsiteX11-299" fmla="*/ 2295032 w 4228786"/>
                <a:gd name="connsiteY11-300" fmla="*/ 13068 h 4110786"/>
                <a:gd name="connsiteX12-301" fmla="*/ 4228786 w 4228786"/>
                <a:gd name="connsiteY12-302" fmla="*/ 2058946 h 4110786"/>
                <a:gd name="connsiteX13-303" fmla="*/ 2176946 w 4228786"/>
                <a:gd name="connsiteY13-304" fmla="*/ 4110786 h 4110786"/>
                <a:gd name="connsiteX14-305" fmla="*/ 125105 w 4228786"/>
                <a:gd name="connsiteY14-306" fmla="*/ 2058946 h 4110786"/>
                <a:gd name="connsiteX15-307" fmla="*/ 437178 w 4228786"/>
                <a:gd name="connsiteY15-308" fmla="*/ 2058945 h 4110786"/>
                <a:gd name="connsiteX16-309" fmla="*/ 2176945 w 4228786"/>
                <a:gd name="connsiteY16-310" fmla="*/ 3798712 h 4110786"/>
                <a:gd name="connsiteX17-311" fmla="*/ 3916711 w 4228786"/>
                <a:gd name="connsiteY17-312" fmla="*/ 2058945 h 4110786"/>
                <a:gd name="connsiteX18-313" fmla="*/ 2269473 w 4228786"/>
                <a:gd name="connsiteY18-314" fmla="*/ 323850 h 4110786"/>
                <a:gd name="connsiteX19-315" fmla="*/ 2290461 w 4228786"/>
                <a:gd name="connsiteY19-316" fmla="*/ 323850 h 4110786"/>
                <a:gd name="connsiteX20-317" fmla="*/ 2295032 w 4228786"/>
                <a:gd name="connsiteY20-318" fmla="*/ 13068 h 4110786"/>
                <a:gd name="connsiteX21-319" fmla="*/ 2090436 w 4228786"/>
                <a:gd name="connsiteY21-320" fmla="*/ 11473 h 4110786"/>
                <a:gd name="connsiteX22-321" fmla="*/ 2090436 w 4228786"/>
                <a:gd name="connsiteY22-322" fmla="*/ 323546 h 4110786"/>
                <a:gd name="connsiteX23-323" fmla="*/ 739525 w 4228786"/>
                <a:gd name="connsiteY23-324" fmla="*/ 1079241 h 4110786"/>
                <a:gd name="connsiteX24-325" fmla="*/ 470434 w 4228786"/>
                <a:gd name="connsiteY24-326" fmla="*/ 920125 h 4110786"/>
                <a:gd name="connsiteX25-327" fmla="*/ 2090436 w 4228786"/>
                <a:gd name="connsiteY25-328" fmla="*/ 11473 h 4110786"/>
                <a:gd name="connsiteX26-329" fmla="*/ 2295224 w 4228786"/>
                <a:gd name="connsiteY26-330" fmla="*/ 0 h 4110786"/>
                <a:gd name="connsiteX27-331" fmla="*/ 2295032 w 4228786"/>
                <a:gd name="connsiteY27-332" fmla="*/ 13068 h 4110786"/>
                <a:gd name="connsiteX28-333" fmla="*/ 2176946 w 4228786"/>
                <a:gd name="connsiteY28-334" fmla="*/ 7105 h 4110786"/>
                <a:gd name="connsiteX29-335" fmla="*/ 2090436 w 4228786"/>
                <a:gd name="connsiteY29-336" fmla="*/ 11473 h 4110786"/>
                <a:gd name="connsiteX30-337" fmla="*/ 2090436 w 4228786"/>
                <a:gd name="connsiteY30-338" fmla="*/ 2381 h 4110786"/>
                <a:gd name="connsiteX31-339" fmla="*/ 2295224 w 4228786"/>
                <a:gd name="connsiteY31-340" fmla="*/ 0 h 4110786"/>
                <a:gd name="connsiteX0-341" fmla="*/ 739525 w 4228786"/>
                <a:gd name="connsiteY0-342" fmla="*/ 1079241 h 4110786"/>
                <a:gd name="connsiteX1-343" fmla="*/ 742648 w 4228786"/>
                <a:gd name="connsiteY1-344" fmla="*/ 1081087 h 4110786"/>
                <a:gd name="connsiteX2-345" fmla="*/ 739525 w 4228786"/>
                <a:gd name="connsiteY2-346" fmla="*/ 1079241 h 4110786"/>
                <a:gd name="connsiteX3-347" fmla="*/ 468805 w 4228786"/>
                <a:gd name="connsiteY3-348" fmla="*/ 919162 h 4110786"/>
                <a:gd name="connsiteX4-349" fmla="*/ 470434 w 4228786"/>
                <a:gd name="connsiteY4-350" fmla="*/ 920125 h 4110786"/>
                <a:gd name="connsiteX5-351" fmla="*/ 468805 w 4228786"/>
                <a:gd name="connsiteY5-352" fmla="*/ 919162 h 4110786"/>
                <a:gd name="connsiteX6-353" fmla="*/ 2176945 w 4228786"/>
                <a:gd name="connsiteY6-354" fmla="*/ 319178 h 4110786"/>
                <a:gd name="connsiteX7-355" fmla="*/ 2269473 w 4228786"/>
                <a:gd name="connsiteY7-356" fmla="*/ 323850 h 4110786"/>
                <a:gd name="connsiteX8-357" fmla="*/ 2090436 w 4228786"/>
                <a:gd name="connsiteY8-358" fmla="*/ 323850 h 4110786"/>
                <a:gd name="connsiteX9-359" fmla="*/ 2090436 w 4228786"/>
                <a:gd name="connsiteY9-360" fmla="*/ 323546 h 4110786"/>
                <a:gd name="connsiteX10-361" fmla="*/ 2176945 w 4228786"/>
                <a:gd name="connsiteY10-362" fmla="*/ 319178 h 4110786"/>
                <a:gd name="connsiteX11-363" fmla="*/ 2295032 w 4228786"/>
                <a:gd name="connsiteY11-364" fmla="*/ 13068 h 4110786"/>
                <a:gd name="connsiteX12-365" fmla="*/ 4228786 w 4228786"/>
                <a:gd name="connsiteY12-366" fmla="*/ 2058946 h 4110786"/>
                <a:gd name="connsiteX13-367" fmla="*/ 2176946 w 4228786"/>
                <a:gd name="connsiteY13-368" fmla="*/ 4110786 h 4110786"/>
                <a:gd name="connsiteX14-369" fmla="*/ 125105 w 4228786"/>
                <a:gd name="connsiteY14-370" fmla="*/ 2058946 h 4110786"/>
                <a:gd name="connsiteX15-371" fmla="*/ 437178 w 4228786"/>
                <a:gd name="connsiteY15-372" fmla="*/ 2058945 h 4110786"/>
                <a:gd name="connsiteX16-373" fmla="*/ 2176945 w 4228786"/>
                <a:gd name="connsiteY16-374" fmla="*/ 3798712 h 4110786"/>
                <a:gd name="connsiteX17-375" fmla="*/ 3916711 w 4228786"/>
                <a:gd name="connsiteY17-376" fmla="*/ 2058945 h 4110786"/>
                <a:gd name="connsiteX18-377" fmla="*/ 2269473 w 4228786"/>
                <a:gd name="connsiteY18-378" fmla="*/ 323850 h 4110786"/>
                <a:gd name="connsiteX19-379" fmla="*/ 2290461 w 4228786"/>
                <a:gd name="connsiteY19-380" fmla="*/ 323850 h 4110786"/>
                <a:gd name="connsiteX20-381" fmla="*/ 2295032 w 4228786"/>
                <a:gd name="connsiteY20-382" fmla="*/ 13068 h 4110786"/>
                <a:gd name="connsiteX21-383" fmla="*/ 2090436 w 4228786"/>
                <a:gd name="connsiteY21-384" fmla="*/ 11473 h 4110786"/>
                <a:gd name="connsiteX22-385" fmla="*/ 2090436 w 4228786"/>
                <a:gd name="connsiteY22-386" fmla="*/ 323546 h 4110786"/>
                <a:gd name="connsiteX23-387" fmla="*/ 739525 w 4228786"/>
                <a:gd name="connsiteY23-388" fmla="*/ 1079241 h 4110786"/>
                <a:gd name="connsiteX24-389" fmla="*/ 470434 w 4228786"/>
                <a:gd name="connsiteY24-390" fmla="*/ 920125 h 4110786"/>
                <a:gd name="connsiteX25-391" fmla="*/ 2090436 w 4228786"/>
                <a:gd name="connsiteY25-392" fmla="*/ 11473 h 4110786"/>
                <a:gd name="connsiteX26-393" fmla="*/ 2295224 w 4228786"/>
                <a:gd name="connsiteY26-394" fmla="*/ 0 h 4110786"/>
                <a:gd name="connsiteX27-395" fmla="*/ 2176946 w 4228786"/>
                <a:gd name="connsiteY27-396" fmla="*/ 7105 h 4110786"/>
                <a:gd name="connsiteX28-397" fmla="*/ 2090436 w 4228786"/>
                <a:gd name="connsiteY28-398" fmla="*/ 11473 h 4110786"/>
                <a:gd name="connsiteX29-399" fmla="*/ 2090436 w 4228786"/>
                <a:gd name="connsiteY29-400" fmla="*/ 2381 h 4110786"/>
                <a:gd name="connsiteX30-401" fmla="*/ 2295224 w 4228786"/>
                <a:gd name="connsiteY30-402" fmla="*/ 0 h 4110786"/>
                <a:gd name="connsiteX0-403" fmla="*/ 739525 w 4228949"/>
                <a:gd name="connsiteY0-404" fmla="*/ 1079241 h 4110786"/>
                <a:gd name="connsiteX1-405" fmla="*/ 742648 w 4228949"/>
                <a:gd name="connsiteY1-406" fmla="*/ 1081087 h 4110786"/>
                <a:gd name="connsiteX2-407" fmla="*/ 739525 w 4228949"/>
                <a:gd name="connsiteY2-408" fmla="*/ 1079241 h 4110786"/>
                <a:gd name="connsiteX3-409" fmla="*/ 468805 w 4228949"/>
                <a:gd name="connsiteY3-410" fmla="*/ 919162 h 4110786"/>
                <a:gd name="connsiteX4-411" fmla="*/ 470434 w 4228949"/>
                <a:gd name="connsiteY4-412" fmla="*/ 920125 h 4110786"/>
                <a:gd name="connsiteX5-413" fmla="*/ 468805 w 4228949"/>
                <a:gd name="connsiteY5-414" fmla="*/ 919162 h 4110786"/>
                <a:gd name="connsiteX6-415" fmla="*/ 2176945 w 4228949"/>
                <a:gd name="connsiteY6-416" fmla="*/ 319178 h 4110786"/>
                <a:gd name="connsiteX7-417" fmla="*/ 2269473 w 4228949"/>
                <a:gd name="connsiteY7-418" fmla="*/ 323850 h 4110786"/>
                <a:gd name="connsiteX8-419" fmla="*/ 2090436 w 4228949"/>
                <a:gd name="connsiteY8-420" fmla="*/ 323850 h 4110786"/>
                <a:gd name="connsiteX9-421" fmla="*/ 2090436 w 4228949"/>
                <a:gd name="connsiteY9-422" fmla="*/ 323546 h 4110786"/>
                <a:gd name="connsiteX10-423" fmla="*/ 2176945 w 4228949"/>
                <a:gd name="connsiteY10-424" fmla="*/ 319178 h 4110786"/>
                <a:gd name="connsiteX11-425" fmla="*/ 2290461 w 4228949"/>
                <a:gd name="connsiteY11-426" fmla="*/ 323850 h 4110786"/>
                <a:gd name="connsiteX12-427" fmla="*/ 4228786 w 4228949"/>
                <a:gd name="connsiteY12-428" fmla="*/ 2058946 h 4110786"/>
                <a:gd name="connsiteX13-429" fmla="*/ 2176946 w 4228949"/>
                <a:gd name="connsiteY13-430" fmla="*/ 4110786 h 4110786"/>
                <a:gd name="connsiteX14-431" fmla="*/ 125105 w 4228949"/>
                <a:gd name="connsiteY14-432" fmla="*/ 2058946 h 4110786"/>
                <a:gd name="connsiteX15-433" fmla="*/ 437178 w 4228949"/>
                <a:gd name="connsiteY15-434" fmla="*/ 2058945 h 4110786"/>
                <a:gd name="connsiteX16-435" fmla="*/ 2176945 w 4228949"/>
                <a:gd name="connsiteY16-436" fmla="*/ 3798712 h 4110786"/>
                <a:gd name="connsiteX17-437" fmla="*/ 3916711 w 4228949"/>
                <a:gd name="connsiteY17-438" fmla="*/ 2058945 h 4110786"/>
                <a:gd name="connsiteX18-439" fmla="*/ 2269473 w 4228949"/>
                <a:gd name="connsiteY18-440" fmla="*/ 323850 h 4110786"/>
                <a:gd name="connsiteX19-441" fmla="*/ 2290461 w 4228949"/>
                <a:gd name="connsiteY19-442" fmla="*/ 323850 h 4110786"/>
                <a:gd name="connsiteX20-443" fmla="*/ 2090436 w 4228949"/>
                <a:gd name="connsiteY20-444" fmla="*/ 11473 h 4110786"/>
                <a:gd name="connsiteX21-445" fmla="*/ 2090436 w 4228949"/>
                <a:gd name="connsiteY21-446" fmla="*/ 323546 h 4110786"/>
                <a:gd name="connsiteX22-447" fmla="*/ 739525 w 4228949"/>
                <a:gd name="connsiteY22-448" fmla="*/ 1079241 h 4110786"/>
                <a:gd name="connsiteX23-449" fmla="*/ 470434 w 4228949"/>
                <a:gd name="connsiteY23-450" fmla="*/ 920125 h 4110786"/>
                <a:gd name="connsiteX24-451" fmla="*/ 2090436 w 4228949"/>
                <a:gd name="connsiteY24-452" fmla="*/ 11473 h 4110786"/>
                <a:gd name="connsiteX25-453" fmla="*/ 2295224 w 4228949"/>
                <a:gd name="connsiteY25-454" fmla="*/ 0 h 4110786"/>
                <a:gd name="connsiteX26-455" fmla="*/ 2176946 w 4228949"/>
                <a:gd name="connsiteY26-456" fmla="*/ 7105 h 4110786"/>
                <a:gd name="connsiteX27-457" fmla="*/ 2090436 w 4228949"/>
                <a:gd name="connsiteY27-458" fmla="*/ 11473 h 4110786"/>
                <a:gd name="connsiteX28-459" fmla="*/ 2090436 w 4228949"/>
                <a:gd name="connsiteY28-460" fmla="*/ 2381 h 4110786"/>
                <a:gd name="connsiteX29-461" fmla="*/ 2295224 w 4228949"/>
                <a:gd name="connsiteY29-462" fmla="*/ 0 h 4110786"/>
                <a:gd name="connsiteX0-463" fmla="*/ 739525 w 4228949"/>
                <a:gd name="connsiteY0-464" fmla="*/ 1076860 h 4108405"/>
                <a:gd name="connsiteX1-465" fmla="*/ 742648 w 4228949"/>
                <a:gd name="connsiteY1-466" fmla="*/ 1078706 h 4108405"/>
                <a:gd name="connsiteX2-467" fmla="*/ 739525 w 4228949"/>
                <a:gd name="connsiteY2-468" fmla="*/ 1076860 h 4108405"/>
                <a:gd name="connsiteX3-469" fmla="*/ 468805 w 4228949"/>
                <a:gd name="connsiteY3-470" fmla="*/ 916781 h 4108405"/>
                <a:gd name="connsiteX4-471" fmla="*/ 470434 w 4228949"/>
                <a:gd name="connsiteY4-472" fmla="*/ 917744 h 4108405"/>
                <a:gd name="connsiteX5-473" fmla="*/ 468805 w 4228949"/>
                <a:gd name="connsiteY5-474" fmla="*/ 916781 h 4108405"/>
                <a:gd name="connsiteX6-475" fmla="*/ 2176945 w 4228949"/>
                <a:gd name="connsiteY6-476" fmla="*/ 316797 h 4108405"/>
                <a:gd name="connsiteX7-477" fmla="*/ 2269473 w 4228949"/>
                <a:gd name="connsiteY7-478" fmla="*/ 321469 h 4108405"/>
                <a:gd name="connsiteX8-479" fmla="*/ 2090436 w 4228949"/>
                <a:gd name="connsiteY8-480" fmla="*/ 321469 h 4108405"/>
                <a:gd name="connsiteX9-481" fmla="*/ 2090436 w 4228949"/>
                <a:gd name="connsiteY9-482" fmla="*/ 321165 h 4108405"/>
                <a:gd name="connsiteX10-483" fmla="*/ 2176945 w 4228949"/>
                <a:gd name="connsiteY10-484" fmla="*/ 316797 h 4108405"/>
                <a:gd name="connsiteX11-485" fmla="*/ 2290461 w 4228949"/>
                <a:gd name="connsiteY11-486" fmla="*/ 321469 h 4108405"/>
                <a:gd name="connsiteX12-487" fmla="*/ 4228786 w 4228949"/>
                <a:gd name="connsiteY12-488" fmla="*/ 2056565 h 4108405"/>
                <a:gd name="connsiteX13-489" fmla="*/ 2176946 w 4228949"/>
                <a:gd name="connsiteY13-490" fmla="*/ 4108405 h 4108405"/>
                <a:gd name="connsiteX14-491" fmla="*/ 125105 w 4228949"/>
                <a:gd name="connsiteY14-492" fmla="*/ 2056565 h 4108405"/>
                <a:gd name="connsiteX15-493" fmla="*/ 437178 w 4228949"/>
                <a:gd name="connsiteY15-494" fmla="*/ 2056564 h 4108405"/>
                <a:gd name="connsiteX16-495" fmla="*/ 2176945 w 4228949"/>
                <a:gd name="connsiteY16-496" fmla="*/ 3796331 h 4108405"/>
                <a:gd name="connsiteX17-497" fmla="*/ 3916711 w 4228949"/>
                <a:gd name="connsiteY17-498" fmla="*/ 2056564 h 4108405"/>
                <a:gd name="connsiteX18-499" fmla="*/ 2269473 w 4228949"/>
                <a:gd name="connsiteY18-500" fmla="*/ 321469 h 4108405"/>
                <a:gd name="connsiteX19-501" fmla="*/ 2290461 w 4228949"/>
                <a:gd name="connsiteY19-502" fmla="*/ 321469 h 4108405"/>
                <a:gd name="connsiteX20-503" fmla="*/ 2090436 w 4228949"/>
                <a:gd name="connsiteY20-504" fmla="*/ 9092 h 4108405"/>
                <a:gd name="connsiteX21-505" fmla="*/ 2090436 w 4228949"/>
                <a:gd name="connsiteY21-506" fmla="*/ 321165 h 4108405"/>
                <a:gd name="connsiteX22-507" fmla="*/ 739525 w 4228949"/>
                <a:gd name="connsiteY22-508" fmla="*/ 1076860 h 4108405"/>
                <a:gd name="connsiteX23-509" fmla="*/ 470434 w 4228949"/>
                <a:gd name="connsiteY23-510" fmla="*/ 917744 h 4108405"/>
                <a:gd name="connsiteX24-511" fmla="*/ 2090436 w 4228949"/>
                <a:gd name="connsiteY24-512" fmla="*/ 9092 h 4108405"/>
                <a:gd name="connsiteX25-513" fmla="*/ 2090436 w 4228949"/>
                <a:gd name="connsiteY25-514" fmla="*/ 0 h 4108405"/>
                <a:gd name="connsiteX26-515" fmla="*/ 2176946 w 4228949"/>
                <a:gd name="connsiteY26-516" fmla="*/ 4724 h 4108405"/>
                <a:gd name="connsiteX27-517" fmla="*/ 2090436 w 4228949"/>
                <a:gd name="connsiteY27-518" fmla="*/ 9092 h 4108405"/>
                <a:gd name="connsiteX28-519" fmla="*/ 2090436 w 4228949"/>
                <a:gd name="connsiteY28-520" fmla="*/ 0 h 4108405"/>
                <a:gd name="connsiteX0-521" fmla="*/ 739525 w 4228949"/>
                <a:gd name="connsiteY0-522" fmla="*/ 1076860 h 4108405"/>
                <a:gd name="connsiteX1-523" fmla="*/ 742648 w 4228949"/>
                <a:gd name="connsiteY1-524" fmla="*/ 1078706 h 4108405"/>
                <a:gd name="connsiteX2-525" fmla="*/ 739525 w 4228949"/>
                <a:gd name="connsiteY2-526" fmla="*/ 1076860 h 4108405"/>
                <a:gd name="connsiteX3-527" fmla="*/ 468805 w 4228949"/>
                <a:gd name="connsiteY3-528" fmla="*/ 916781 h 4108405"/>
                <a:gd name="connsiteX4-529" fmla="*/ 470434 w 4228949"/>
                <a:gd name="connsiteY4-530" fmla="*/ 917744 h 4108405"/>
                <a:gd name="connsiteX5-531" fmla="*/ 468805 w 4228949"/>
                <a:gd name="connsiteY5-532" fmla="*/ 916781 h 4108405"/>
                <a:gd name="connsiteX6-533" fmla="*/ 2176945 w 4228949"/>
                <a:gd name="connsiteY6-534" fmla="*/ 316797 h 4108405"/>
                <a:gd name="connsiteX7-535" fmla="*/ 2269473 w 4228949"/>
                <a:gd name="connsiteY7-536" fmla="*/ 321469 h 4108405"/>
                <a:gd name="connsiteX8-537" fmla="*/ 2090436 w 4228949"/>
                <a:gd name="connsiteY8-538" fmla="*/ 321469 h 4108405"/>
                <a:gd name="connsiteX9-539" fmla="*/ 2090436 w 4228949"/>
                <a:gd name="connsiteY9-540" fmla="*/ 321165 h 4108405"/>
                <a:gd name="connsiteX10-541" fmla="*/ 2176945 w 4228949"/>
                <a:gd name="connsiteY10-542" fmla="*/ 316797 h 4108405"/>
                <a:gd name="connsiteX11-543" fmla="*/ 2290461 w 4228949"/>
                <a:gd name="connsiteY11-544" fmla="*/ 321469 h 4108405"/>
                <a:gd name="connsiteX12-545" fmla="*/ 4228786 w 4228949"/>
                <a:gd name="connsiteY12-546" fmla="*/ 2056565 h 4108405"/>
                <a:gd name="connsiteX13-547" fmla="*/ 2176946 w 4228949"/>
                <a:gd name="connsiteY13-548" fmla="*/ 4108405 h 4108405"/>
                <a:gd name="connsiteX14-549" fmla="*/ 125105 w 4228949"/>
                <a:gd name="connsiteY14-550" fmla="*/ 2056565 h 4108405"/>
                <a:gd name="connsiteX15-551" fmla="*/ 437178 w 4228949"/>
                <a:gd name="connsiteY15-552" fmla="*/ 2056564 h 4108405"/>
                <a:gd name="connsiteX16-553" fmla="*/ 2176945 w 4228949"/>
                <a:gd name="connsiteY16-554" fmla="*/ 3796331 h 4108405"/>
                <a:gd name="connsiteX17-555" fmla="*/ 3916711 w 4228949"/>
                <a:gd name="connsiteY17-556" fmla="*/ 2056564 h 4108405"/>
                <a:gd name="connsiteX18-557" fmla="*/ 2269473 w 4228949"/>
                <a:gd name="connsiteY18-558" fmla="*/ 321469 h 4108405"/>
                <a:gd name="connsiteX19-559" fmla="*/ 2290461 w 4228949"/>
                <a:gd name="connsiteY19-560" fmla="*/ 321469 h 4108405"/>
                <a:gd name="connsiteX20-561" fmla="*/ 2090436 w 4228949"/>
                <a:gd name="connsiteY20-562" fmla="*/ 9092 h 4108405"/>
                <a:gd name="connsiteX21-563" fmla="*/ 2090436 w 4228949"/>
                <a:gd name="connsiteY21-564" fmla="*/ 321165 h 4108405"/>
                <a:gd name="connsiteX22-565" fmla="*/ 739525 w 4228949"/>
                <a:gd name="connsiteY22-566" fmla="*/ 1076860 h 4108405"/>
                <a:gd name="connsiteX23-567" fmla="*/ 470434 w 4228949"/>
                <a:gd name="connsiteY23-568" fmla="*/ 917744 h 4108405"/>
                <a:gd name="connsiteX24-569" fmla="*/ 2090436 w 4228949"/>
                <a:gd name="connsiteY24-570" fmla="*/ 9092 h 4108405"/>
                <a:gd name="connsiteX25-571" fmla="*/ 2090436 w 4228949"/>
                <a:gd name="connsiteY25-572" fmla="*/ 0 h 4108405"/>
                <a:gd name="connsiteX26-573" fmla="*/ 2090436 w 4228949"/>
                <a:gd name="connsiteY26-574" fmla="*/ 9092 h 4108405"/>
                <a:gd name="connsiteX27-575" fmla="*/ 2090436 w 4228949"/>
                <a:gd name="connsiteY27-576" fmla="*/ 0 h 4108405"/>
                <a:gd name="connsiteX0-577" fmla="*/ 739525 w 4228925"/>
                <a:gd name="connsiteY0-578" fmla="*/ 1076860 h 4108405"/>
                <a:gd name="connsiteX1-579" fmla="*/ 742648 w 4228925"/>
                <a:gd name="connsiteY1-580" fmla="*/ 1078706 h 4108405"/>
                <a:gd name="connsiteX2-581" fmla="*/ 739525 w 4228925"/>
                <a:gd name="connsiteY2-582" fmla="*/ 1076860 h 4108405"/>
                <a:gd name="connsiteX3-583" fmla="*/ 468805 w 4228925"/>
                <a:gd name="connsiteY3-584" fmla="*/ 916781 h 4108405"/>
                <a:gd name="connsiteX4-585" fmla="*/ 470434 w 4228925"/>
                <a:gd name="connsiteY4-586" fmla="*/ 917744 h 4108405"/>
                <a:gd name="connsiteX5-587" fmla="*/ 468805 w 4228925"/>
                <a:gd name="connsiteY5-588" fmla="*/ 916781 h 4108405"/>
                <a:gd name="connsiteX6-589" fmla="*/ 2176945 w 4228925"/>
                <a:gd name="connsiteY6-590" fmla="*/ 316797 h 4108405"/>
                <a:gd name="connsiteX7-591" fmla="*/ 2269473 w 4228925"/>
                <a:gd name="connsiteY7-592" fmla="*/ 321469 h 4108405"/>
                <a:gd name="connsiteX8-593" fmla="*/ 2090436 w 4228925"/>
                <a:gd name="connsiteY8-594" fmla="*/ 321469 h 4108405"/>
                <a:gd name="connsiteX9-595" fmla="*/ 2090436 w 4228925"/>
                <a:gd name="connsiteY9-596" fmla="*/ 321165 h 4108405"/>
                <a:gd name="connsiteX10-597" fmla="*/ 2176945 w 4228925"/>
                <a:gd name="connsiteY10-598" fmla="*/ 316797 h 4108405"/>
                <a:gd name="connsiteX11-599" fmla="*/ 2290461 w 4228925"/>
                <a:gd name="connsiteY11-600" fmla="*/ 321469 h 4108405"/>
                <a:gd name="connsiteX12-601" fmla="*/ 4228786 w 4228925"/>
                <a:gd name="connsiteY12-602" fmla="*/ 2056565 h 4108405"/>
                <a:gd name="connsiteX13-603" fmla="*/ 2176946 w 4228925"/>
                <a:gd name="connsiteY13-604" fmla="*/ 4108405 h 4108405"/>
                <a:gd name="connsiteX14-605" fmla="*/ 125105 w 4228925"/>
                <a:gd name="connsiteY14-606" fmla="*/ 2056565 h 4108405"/>
                <a:gd name="connsiteX15-607" fmla="*/ 437178 w 4228925"/>
                <a:gd name="connsiteY15-608" fmla="*/ 2056564 h 4108405"/>
                <a:gd name="connsiteX16-609" fmla="*/ 2176945 w 4228925"/>
                <a:gd name="connsiteY16-610" fmla="*/ 3796331 h 4108405"/>
                <a:gd name="connsiteX17-611" fmla="*/ 3916711 w 4228925"/>
                <a:gd name="connsiteY17-612" fmla="*/ 2056564 h 4108405"/>
                <a:gd name="connsiteX18-613" fmla="*/ 2290461 w 4228925"/>
                <a:gd name="connsiteY18-614" fmla="*/ 321469 h 4108405"/>
                <a:gd name="connsiteX19-615" fmla="*/ 2090436 w 4228925"/>
                <a:gd name="connsiteY19-616" fmla="*/ 9092 h 4108405"/>
                <a:gd name="connsiteX20-617" fmla="*/ 2090436 w 4228925"/>
                <a:gd name="connsiteY20-618" fmla="*/ 321165 h 4108405"/>
                <a:gd name="connsiteX21-619" fmla="*/ 739525 w 4228925"/>
                <a:gd name="connsiteY21-620" fmla="*/ 1076860 h 4108405"/>
                <a:gd name="connsiteX22-621" fmla="*/ 470434 w 4228925"/>
                <a:gd name="connsiteY22-622" fmla="*/ 917744 h 4108405"/>
                <a:gd name="connsiteX23-623" fmla="*/ 2090436 w 4228925"/>
                <a:gd name="connsiteY23-624" fmla="*/ 9092 h 4108405"/>
                <a:gd name="connsiteX24-625" fmla="*/ 2090436 w 4228925"/>
                <a:gd name="connsiteY24-626" fmla="*/ 0 h 4108405"/>
                <a:gd name="connsiteX25-627" fmla="*/ 2090436 w 4228925"/>
                <a:gd name="connsiteY25-628" fmla="*/ 9092 h 4108405"/>
                <a:gd name="connsiteX26-629" fmla="*/ 2090436 w 4228925"/>
                <a:gd name="connsiteY26-630" fmla="*/ 0 h 4108405"/>
                <a:gd name="connsiteX0-631" fmla="*/ 739525 w 4228925"/>
                <a:gd name="connsiteY0-632" fmla="*/ 1076860 h 4108405"/>
                <a:gd name="connsiteX1-633" fmla="*/ 742648 w 4228925"/>
                <a:gd name="connsiteY1-634" fmla="*/ 1078706 h 4108405"/>
                <a:gd name="connsiteX2-635" fmla="*/ 739525 w 4228925"/>
                <a:gd name="connsiteY2-636" fmla="*/ 1076860 h 4108405"/>
                <a:gd name="connsiteX3-637" fmla="*/ 468805 w 4228925"/>
                <a:gd name="connsiteY3-638" fmla="*/ 916781 h 4108405"/>
                <a:gd name="connsiteX4-639" fmla="*/ 470434 w 4228925"/>
                <a:gd name="connsiteY4-640" fmla="*/ 917744 h 4108405"/>
                <a:gd name="connsiteX5-641" fmla="*/ 468805 w 4228925"/>
                <a:gd name="connsiteY5-642" fmla="*/ 916781 h 4108405"/>
                <a:gd name="connsiteX6-643" fmla="*/ 2176945 w 4228925"/>
                <a:gd name="connsiteY6-644" fmla="*/ 316797 h 4108405"/>
                <a:gd name="connsiteX7-645" fmla="*/ 2090436 w 4228925"/>
                <a:gd name="connsiteY7-646" fmla="*/ 321469 h 4108405"/>
                <a:gd name="connsiteX8-647" fmla="*/ 2090436 w 4228925"/>
                <a:gd name="connsiteY8-648" fmla="*/ 321165 h 4108405"/>
                <a:gd name="connsiteX9-649" fmla="*/ 2176945 w 4228925"/>
                <a:gd name="connsiteY9-650" fmla="*/ 316797 h 4108405"/>
                <a:gd name="connsiteX10-651" fmla="*/ 2290461 w 4228925"/>
                <a:gd name="connsiteY10-652" fmla="*/ 321469 h 4108405"/>
                <a:gd name="connsiteX11-653" fmla="*/ 4228786 w 4228925"/>
                <a:gd name="connsiteY11-654" fmla="*/ 2056565 h 4108405"/>
                <a:gd name="connsiteX12-655" fmla="*/ 2176946 w 4228925"/>
                <a:gd name="connsiteY12-656" fmla="*/ 4108405 h 4108405"/>
                <a:gd name="connsiteX13-657" fmla="*/ 125105 w 4228925"/>
                <a:gd name="connsiteY13-658" fmla="*/ 2056565 h 4108405"/>
                <a:gd name="connsiteX14-659" fmla="*/ 437178 w 4228925"/>
                <a:gd name="connsiteY14-660" fmla="*/ 2056564 h 4108405"/>
                <a:gd name="connsiteX15-661" fmla="*/ 2176945 w 4228925"/>
                <a:gd name="connsiteY15-662" fmla="*/ 3796331 h 4108405"/>
                <a:gd name="connsiteX16-663" fmla="*/ 3916711 w 4228925"/>
                <a:gd name="connsiteY16-664" fmla="*/ 2056564 h 4108405"/>
                <a:gd name="connsiteX17-665" fmla="*/ 2290461 w 4228925"/>
                <a:gd name="connsiteY17-666" fmla="*/ 321469 h 4108405"/>
                <a:gd name="connsiteX18-667" fmla="*/ 2090436 w 4228925"/>
                <a:gd name="connsiteY18-668" fmla="*/ 9092 h 4108405"/>
                <a:gd name="connsiteX19-669" fmla="*/ 2090436 w 4228925"/>
                <a:gd name="connsiteY19-670" fmla="*/ 321165 h 4108405"/>
                <a:gd name="connsiteX20-671" fmla="*/ 739525 w 4228925"/>
                <a:gd name="connsiteY20-672" fmla="*/ 1076860 h 4108405"/>
                <a:gd name="connsiteX21-673" fmla="*/ 470434 w 4228925"/>
                <a:gd name="connsiteY21-674" fmla="*/ 917744 h 4108405"/>
                <a:gd name="connsiteX22-675" fmla="*/ 2090436 w 4228925"/>
                <a:gd name="connsiteY22-676" fmla="*/ 9092 h 4108405"/>
                <a:gd name="connsiteX23-677" fmla="*/ 2090436 w 4228925"/>
                <a:gd name="connsiteY23-678" fmla="*/ 0 h 4108405"/>
                <a:gd name="connsiteX24-679" fmla="*/ 2090436 w 4228925"/>
                <a:gd name="connsiteY24-680" fmla="*/ 9092 h 4108405"/>
                <a:gd name="connsiteX25-681" fmla="*/ 2090436 w 4228925"/>
                <a:gd name="connsiteY25-682" fmla="*/ 0 h 4108405"/>
                <a:gd name="connsiteX0-683" fmla="*/ 739525 w 4228925"/>
                <a:gd name="connsiteY0-684" fmla="*/ 1076860 h 4108405"/>
                <a:gd name="connsiteX1-685" fmla="*/ 742648 w 4228925"/>
                <a:gd name="connsiteY1-686" fmla="*/ 1078706 h 4108405"/>
                <a:gd name="connsiteX2-687" fmla="*/ 739525 w 4228925"/>
                <a:gd name="connsiteY2-688" fmla="*/ 1076860 h 4108405"/>
                <a:gd name="connsiteX3-689" fmla="*/ 468805 w 4228925"/>
                <a:gd name="connsiteY3-690" fmla="*/ 916781 h 4108405"/>
                <a:gd name="connsiteX4-691" fmla="*/ 470434 w 4228925"/>
                <a:gd name="connsiteY4-692" fmla="*/ 917744 h 4108405"/>
                <a:gd name="connsiteX5-693" fmla="*/ 468805 w 4228925"/>
                <a:gd name="connsiteY5-694" fmla="*/ 916781 h 4108405"/>
                <a:gd name="connsiteX6-695" fmla="*/ 2090436 w 4228925"/>
                <a:gd name="connsiteY6-696" fmla="*/ 321165 h 4108405"/>
                <a:gd name="connsiteX7-697" fmla="*/ 2090436 w 4228925"/>
                <a:gd name="connsiteY7-698" fmla="*/ 321469 h 4108405"/>
                <a:gd name="connsiteX8-699" fmla="*/ 2090436 w 4228925"/>
                <a:gd name="connsiteY8-700" fmla="*/ 321165 h 4108405"/>
                <a:gd name="connsiteX9-701" fmla="*/ 2290461 w 4228925"/>
                <a:gd name="connsiteY9-702" fmla="*/ 321469 h 4108405"/>
                <a:gd name="connsiteX10-703" fmla="*/ 4228786 w 4228925"/>
                <a:gd name="connsiteY10-704" fmla="*/ 2056565 h 4108405"/>
                <a:gd name="connsiteX11-705" fmla="*/ 2176946 w 4228925"/>
                <a:gd name="connsiteY11-706" fmla="*/ 4108405 h 4108405"/>
                <a:gd name="connsiteX12-707" fmla="*/ 125105 w 4228925"/>
                <a:gd name="connsiteY12-708" fmla="*/ 2056565 h 4108405"/>
                <a:gd name="connsiteX13-709" fmla="*/ 437178 w 4228925"/>
                <a:gd name="connsiteY13-710" fmla="*/ 2056564 h 4108405"/>
                <a:gd name="connsiteX14-711" fmla="*/ 2176945 w 4228925"/>
                <a:gd name="connsiteY14-712" fmla="*/ 3796331 h 4108405"/>
                <a:gd name="connsiteX15-713" fmla="*/ 3916711 w 4228925"/>
                <a:gd name="connsiteY15-714" fmla="*/ 2056564 h 4108405"/>
                <a:gd name="connsiteX16-715" fmla="*/ 2290461 w 4228925"/>
                <a:gd name="connsiteY16-716" fmla="*/ 321469 h 4108405"/>
                <a:gd name="connsiteX17-717" fmla="*/ 2090436 w 4228925"/>
                <a:gd name="connsiteY17-718" fmla="*/ 9092 h 4108405"/>
                <a:gd name="connsiteX18-719" fmla="*/ 2090436 w 4228925"/>
                <a:gd name="connsiteY18-720" fmla="*/ 321165 h 4108405"/>
                <a:gd name="connsiteX19-721" fmla="*/ 739525 w 4228925"/>
                <a:gd name="connsiteY19-722" fmla="*/ 1076860 h 4108405"/>
                <a:gd name="connsiteX20-723" fmla="*/ 470434 w 4228925"/>
                <a:gd name="connsiteY20-724" fmla="*/ 917744 h 4108405"/>
                <a:gd name="connsiteX21-725" fmla="*/ 2090436 w 4228925"/>
                <a:gd name="connsiteY21-726" fmla="*/ 9092 h 4108405"/>
                <a:gd name="connsiteX22-727" fmla="*/ 2090436 w 4228925"/>
                <a:gd name="connsiteY22-728" fmla="*/ 0 h 4108405"/>
                <a:gd name="connsiteX23-729" fmla="*/ 2090436 w 4228925"/>
                <a:gd name="connsiteY23-730" fmla="*/ 9092 h 4108405"/>
                <a:gd name="connsiteX24-731" fmla="*/ 2090436 w 4228925"/>
                <a:gd name="connsiteY24-732" fmla="*/ 0 h 4108405"/>
                <a:gd name="connsiteX0-733" fmla="*/ 739525 w 4228925"/>
                <a:gd name="connsiteY0-734" fmla="*/ 1067768 h 4099313"/>
                <a:gd name="connsiteX1-735" fmla="*/ 742648 w 4228925"/>
                <a:gd name="connsiteY1-736" fmla="*/ 1069614 h 4099313"/>
                <a:gd name="connsiteX2-737" fmla="*/ 739525 w 4228925"/>
                <a:gd name="connsiteY2-738" fmla="*/ 1067768 h 4099313"/>
                <a:gd name="connsiteX3-739" fmla="*/ 468805 w 4228925"/>
                <a:gd name="connsiteY3-740" fmla="*/ 907689 h 4099313"/>
                <a:gd name="connsiteX4-741" fmla="*/ 470434 w 4228925"/>
                <a:gd name="connsiteY4-742" fmla="*/ 908652 h 4099313"/>
                <a:gd name="connsiteX5-743" fmla="*/ 468805 w 4228925"/>
                <a:gd name="connsiteY5-744" fmla="*/ 907689 h 4099313"/>
                <a:gd name="connsiteX6-745" fmla="*/ 2090436 w 4228925"/>
                <a:gd name="connsiteY6-746" fmla="*/ 312073 h 4099313"/>
                <a:gd name="connsiteX7-747" fmla="*/ 2090436 w 4228925"/>
                <a:gd name="connsiteY7-748" fmla="*/ 312377 h 4099313"/>
                <a:gd name="connsiteX8-749" fmla="*/ 2090436 w 4228925"/>
                <a:gd name="connsiteY8-750" fmla="*/ 312073 h 4099313"/>
                <a:gd name="connsiteX9-751" fmla="*/ 2290461 w 4228925"/>
                <a:gd name="connsiteY9-752" fmla="*/ 312377 h 4099313"/>
                <a:gd name="connsiteX10-753" fmla="*/ 4228786 w 4228925"/>
                <a:gd name="connsiteY10-754" fmla="*/ 2047473 h 4099313"/>
                <a:gd name="connsiteX11-755" fmla="*/ 2176946 w 4228925"/>
                <a:gd name="connsiteY11-756" fmla="*/ 4099313 h 4099313"/>
                <a:gd name="connsiteX12-757" fmla="*/ 125105 w 4228925"/>
                <a:gd name="connsiteY12-758" fmla="*/ 2047473 h 4099313"/>
                <a:gd name="connsiteX13-759" fmla="*/ 437178 w 4228925"/>
                <a:gd name="connsiteY13-760" fmla="*/ 2047472 h 4099313"/>
                <a:gd name="connsiteX14-761" fmla="*/ 2176945 w 4228925"/>
                <a:gd name="connsiteY14-762" fmla="*/ 3787239 h 4099313"/>
                <a:gd name="connsiteX15-763" fmla="*/ 3916711 w 4228925"/>
                <a:gd name="connsiteY15-764" fmla="*/ 2047472 h 4099313"/>
                <a:gd name="connsiteX16-765" fmla="*/ 2290461 w 4228925"/>
                <a:gd name="connsiteY16-766" fmla="*/ 312377 h 4099313"/>
                <a:gd name="connsiteX17-767" fmla="*/ 2090436 w 4228925"/>
                <a:gd name="connsiteY17-768" fmla="*/ 0 h 4099313"/>
                <a:gd name="connsiteX18-769" fmla="*/ 2090436 w 4228925"/>
                <a:gd name="connsiteY18-770" fmla="*/ 312073 h 4099313"/>
                <a:gd name="connsiteX19-771" fmla="*/ 739525 w 4228925"/>
                <a:gd name="connsiteY19-772" fmla="*/ 1067768 h 4099313"/>
                <a:gd name="connsiteX20-773" fmla="*/ 470434 w 4228925"/>
                <a:gd name="connsiteY20-774" fmla="*/ 908652 h 4099313"/>
                <a:gd name="connsiteX21-775" fmla="*/ 2090436 w 4228925"/>
                <a:gd name="connsiteY21-776" fmla="*/ 0 h 4099313"/>
                <a:gd name="connsiteX0-777" fmla="*/ 739525 w 4353891"/>
                <a:gd name="connsiteY0-778" fmla="*/ 1067768 h 4099313"/>
                <a:gd name="connsiteX1-779" fmla="*/ 742648 w 4353891"/>
                <a:gd name="connsiteY1-780" fmla="*/ 1069614 h 4099313"/>
                <a:gd name="connsiteX2-781" fmla="*/ 739525 w 4353891"/>
                <a:gd name="connsiteY2-782" fmla="*/ 1067768 h 4099313"/>
                <a:gd name="connsiteX3-783" fmla="*/ 468805 w 4353891"/>
                <a:gd name="connsiteY3-784" fmla="*/ 907689 h 4099313"/>
                <a:gd name="connsiteX4-785" fmla="*/ 470434 w 4353891"/>
                <a:gd name="connsiteY4-786" fmla="*/ 908652 h 4099313"/>
                <a:gd name="connsiteX5-787" fmla="*/ 468805 w 4353891"/>
                <a:gd name="connsiteY5-788" fmla="*/ 907689 h 4099313"/>
                <a:gd name="connsiteX6-789" fmla="*/ 2090436 w 4353891"/>
                <a:gd name="connsiteY6-790" fmla="*/ 312073 h 4099313"/>
                <a:gd name="connsiteX7-791" fmla="*/ 2090436 w 4353891"/>
                <a:gd name="connsiteY7-792" fmla="*/ 312377 h 4099313"/>
                <a:gd name="connsiteX8-793" fmla="*/ 2090436 w 4353891"/>
                <a:gd name="connsiteY8-794" fmla="*/ 312073 h 4099313"/>
                <a:gd name="connsiteX9-795" fmla="*/ 3916711 w 4353891"/>
                <a:gd name="connsiteY9-796" fmla="*/ 2047472 h 4099313"/>
                <a:gd name="connsiteX10-797" fmla="*/ 4228786 w 4353891"/>
                <a:gd name="connsiteY10-798" fmla="*/ 2047473 h 4099313"/>
                <a:gd name="connsiteX11-799" fmla="*/ 2176946 w 4353891"/>
                <a:gd name="connsiteY11-800" fmla="*/ 4099313 h 4099313"/>
                <a:gd name="connsiteX12-801" fmla="*/ 125105 w 4353891"/>
                <a:gd name="connsiteY12-802" fmla="*/ 2047473 h 4099313"/>
                <a:gd name="connsiteX13-803" fmla="*/ 437178 w 4353891"/>
                <a:gd name="connsiteY13-804" fmla="*/ 2047472 h 4099313"/>
                <a:gd name="connsiteX14-805" fmla="*/ 2176945 w 4353891"/>
                <a:gd name="connsiteY14-806" fmla="*/ 3787239 h 4099313"/>
                <a:gd name="connsiteX15-807" fmla="*/ 3916711 w 4353891"/>
                <a:gd name="connsiteY15-808" fmla="*/ 2047472 h 4099313"/>
                <a:gd name="connsiteX16-809" fmla="*/ 2090436 w 4353891"/>
                <a:gd name="connsiteY16-810" fmla="*/ 0 h 4099313"/>
                <a:gd name="connsiteX17-811" fmla="*/ 2090436 w 4353891"/>
                <a:gd name="connsiteY17-812" fmla="*/ 312073 h 4099313"/>
                <a:gd name="connsiteX18-813" fmla="*/ 739525 w 4353891"/>
                <a:gd name="connsiteY18-814" fmla="*/ 1067768 h 4099313"/>
                <a:gd name="connsiteX19-815" fmla="*/ 470434 w 4353891"/>
                <a:gd name="connsiteY19-816" fmla="*/ 908652 h 4099313"/>
                <a:gd name="connsiteX20-817" fmla="*/ 2090436 w 4353891"/>
                <a:gd name="connsiteY20-818" fmla="*/ 0 h 4099313"/>
                <a:gd name="connsiteX0-819" fmla="*/ 614420 w 4228786"/>
                <a:gd name="connsiteY0-820" fmla="*/ 1067768 h 4099313"/>
                <a:gd name="connsiteX1-821" fmla="*/ 617543 w 4228786"/>
                <a:gd name="connsiteY1-822" fmla="*/ 1069614 h 4099313"/>
                <a:gd name="connsiteX2-823" fmla="*/ 614420 w 4228786"/>
                <a:gd name="connsiteY2-824" fmla="*/ 1067768 h 4099313"/>
                <a:gd name="connsiteX3-825" fmla="*/ 343700 w 4228786"/>
                <a:gd name="connsiteY3-826" fmla="*/ 907689 h 4099313"/>
                <a:gd name="connsiteX4-827" fmla="*/ 345329 w 4228786"/>
                <a:gd name="connsiteY4-828" fmla="*/ 908652 h 4099313"/>
                <a:gd name="connsiteX5-829" fmla="*/ 343700 w 4228786"/>
                <a:gd name="connsiteY5-830" fmla="*/ 907689 h 4099313"/>
                <a:gd name="connsiteX6-831" fmla="*/ 1965331 w 4228786"/>
                <a:gd name="connsiteY6-832" fmla="*/ 312073 h 4099313"/>
                <a:gd name="connsiteX7-833" fmla="*/ 1965331 w 4228786"/>
                <a:gd name="connsiteY7-834" fmla="*/ 312377 h 4099313"/>
                <a:gd name="connsiteX8-835" fmla="*/ 1965331 w 4228786"/>
                <a:gd name="connsiteY8-836" fmla="*/ 312073 h 4099313"/>
                <a:gd name="connsiteX9-837" fmla="*/ 3791606 w 4228786"/>
                <a:gd name="connsiteY9-838" fmla="*/ 2047472 h 4099313"/>
                <a:gd name="connsiteX10-839" fmla="*/ 4103681 w 4228786"/>
                <a:gd name="connsiteY10-840" fmla="*/ 2047473 h 4099313"/>
                <a:gd name="connsiteX11-841" fmla="*/ 2051841 w 4228786"/>
                <a:gd name="connsiteY11-842" fmla="*/ 4099313 h 4099313"/>
                <a:gd name="connsiteX12-843" fmla="*/ 0 w 4228786"/>
                <a:gd name="connsiteY12-844" fmla="*/ 2047473 h 4099313"/>
                <a:gd name="connsiteX13-845" fmla="*/ 2051840 w 4228786"/>
                <a:gd name="connsiteY13-846" fmla="*/ 3787239 h 4099313"/>
                <a:gd name="connsiteX14-847" fmla="*/ 3791606 w 4228786"/>
                <a:gd name="connsiteY14-848" fmla="*/ 2047472 h 4099313"/>
                <a:gd name="connsiteX15-849" fmla="*/ 1965331 w 4228786"/>
                <a:gd name="connsiteY15-850" fmla="*/ 0 h 4099313"/>
                <a:gd name="connsiteX16-851" fmla="*/ 1965331 w 4228786"/>
                <a:gd name="connsiteY16-852" fmla="*/ 312073 h 4099313"/>
                <a:gd name="connsiteX17-853" fmla="*/ 614420 w 4228786"/>
                <a:gd name="connsiteY17-854" fmla="*/ 1067768 h 4099313"/>
                <a:gd name="connsiteX18-855" fmla="*/ 345329 w 4228786"/>
                <a:gd name="connsiteY18-856" fmla="*/ 908652 h 4099313"/>
                <a:gd name="connsiteX19-857" fmla="*/ 1965331 w 4228786"/>
                <a:gd name="connsiteY19-858" fmla="*/ 0 h 4099313"/>
                <a:gd name="connsiteX0-859" fmla="*/ 270720 w 3885086"/>
                <a:gd name="connsiteY0-860" fmla="*/ 1067768 h 4224418"/>
                <a:gd name="connsiteX1-861" fmla="*/ 273843 w 3885086"/>
                <a:gd name="connsiteY1-862" fmla="*/ 1069614 h 4224418"/>
                <a:gd name="connsiteX2-863" fmla="*/ 270720 w 3885086"/>
                <a:gd name="connsiteY2-864" fmla="*/ 1067768 h 4224418"/>
                <a:gd name="connsiteX3-865" fmla="*/ 0 w 3885086"/>
                <a:gd name="connsiteY3-866" fmla="*/ 907689 h 4224418"/>
                <a:gd name="connsiteX4-867" fmla="*/ 1629 w 3885086"/>
                <a:gd name="connsiteY4-868" fmla="*/ 908652 h 4224418"/>
                <a:gd name="connsiteX5-869" fmla="*/ 0 w 3885086"/>
                <a:gd name="connsiteY5-870" fmla="*/ 907689 h 4224418"/>
                <a:gd name="connsiteX6-871" fmla="*/ 1621631 w 3885086"/>
                <a:gd name="connsiteY6-872" fmla="*/ 312073 h 4224418"/>
                <a:gd name="connsiteX7-873" fmla="*/ 1621631 w 3885086"/>
                <a:gd name="connsiteY7-874" fmla="*/ 312377 h 4224418"/>
                <a:gd name="connsiteX8-875" fmla="*/ 1621631 w 3885086"/>
                <a:gd name="connsiteY8-876" fmla="*/ 312073 h 4224418"/>
                <a:gd name="connsiteX9-877" fmla="*/ 3447906 w 3885086"/>
                <a:gd name="connsiteY9-878" fmla="*/ 2047472 h 4224418"/>
                <a:gd name="connsiteX10-879" fmla="*/ 3759981 w 3885086"/>
                <a:gd name="connsiteY10-880" fmla="*/ 2047473 h 4224418"/>
                <a:gd name="connsiteX11-881" fmla="*/ 1708141 w 3885086"/>
                <a:gd name="connsiteY11-882" fmla="*/ 4099313 h 4224418"/>
                <a:gd name="connsiteX12-883" fmla="*/ 1708140 w 3885086"/>
                <a:gd name="connsiteY12-884" fmla="*/ 3787239 h 4224418"/>
                <a:gd name="connsiteX13-885" fmla="*/ 3447906 w 3885086"/>
                <a:gd name="connsiteY13-886" fmla="*/ 2047472 h 4224418"/>
                <a:gd name="connsiteX14-887" fmla="*/ 1621631 w 3885086"/>
                <a:gd name="connsiteY14-888" fmla="*/ 0 h 4224418"/>
                <a:gd name="connsiteX15-889" fmla="*/ 1621631 w 3885086"/>
                <a:gd name="connsiteY15-890" fmla="*/ 312073 h 4224418"/>
                <a:gd name="connsiteX16-891" fmla="*/ 270720 w 3885086"/>
                <a:gd name="connsiteY16-892" fmla="*/ 1067768 h 4224418"/>
                <a:gd name="connsiteX17-893" fmla="*/ 1629 w 3885086"/>
                <a:gd name="connsiteY17-894" fmla="*/ 908652 h 4224418"/>
                <a:gd name="connsiteX18-895" fmla="*/ 1621631 w 3885086"/>
                <a:gd name="connsiteY18-896" fmla="*/ 0 h 4224418"/>
                <a:gd name="connsiteX0-897" fmla="*/ 270720 w 3885086"/>
                <a:gd name="connsiteY0-898" fmla="*/ 1067768 h 4099313"/>
                <a:gd name="connsiteX1-899" fmla="*/ 273843 w 3885086"/>
                <a:gd name="connsiteY1-900" fmla="*/ 1069614 h 4099313"/>
                <a:gd name="connsiteX2-901" fmla="*/ 270720 w 3885086"/>
                <a:gd name="connsiteY2-902" fmla="*/ 1067768 h 4099313"/>
                <a:gd name="connsiteX3-903" fmla="*/ 0 w 3885086"/>
                <a:gd name="connsiteY3-904" fmla="*/ 907689 h 4099313"/>
                <a:gd name="connsiteX4-905" fmla="*/ 1629 w 3885086"/>
                <a:gd name="connsiteY4-906" fmla="*/ 908652 h 4099313"/>
                <a:gd name="connsiteX5-907" fmla="*/ 0 w 3885086"/>
                <a:gd name="connsiteY5-908" fmla="*/ 907689 h 4099313"/>
                <a:gd name="connsiteX6-909" fmla="*/ 1621631 w 3885086"/>
                <a:gd name="connsiteY6-910" fmla="*/ 312073 h 4099313"/>
                <a:gd name="connsiteX7-911" fmla="*/ 1621631 w 3885086"/>
                <a:gd name="connsiteY7-912" fmla="*/ 312377 h 4099313"/>
                <a:gd name="connsiteX8-913" fmla="*/ 1621631 w 3885086"/>
                <a:gd name="connsiteY8-914" fmla="*/ 312073 h 4099313"/>
                <a:gd name="connsiteX9-915" fmla="*/ 3447906 w 3885086"/>
                <a:gd name="connsiteY9-916" fmla="*/ 2047472 h 4099313"/>
                <a:gd name="connsiteX10-917" fmla="*/ 3759981 w 3885086"/>
                <a:gd name="connsiteY10-918" fmla="*/ 2047473 h 4099313"/>
                <a:gd name="connsiteX11-919" fmla="*/ 1708141 w 3885086"/>
                <a:gd name="connsiteY11-920" fmla="*/ 4099313 h 4099313"/>
                <a:gd name="connsiteX12-921" fmla="*/ 3447906 w 3885086"/>
                <a:gd name="connsiteY12-922" fmla="*/ 2047472 h 4099313"/>
                <a:gd name="connsiteX13-923" fmla="*/ 1621631 w 3885086"/>
                <a:gd name="connsiteY13-924" fmla="*/ 0 h 4099313"/>
                <a:gd name="connsiteX14-925" fmla="*/ 1621631 w 3885086"/>
                <a:gd name="connsiteY14-926" fmla="*/ 312073 h 4099313"/>
                <a:gd name="connsiteX15-927" fmla="*/ 270720 w 3885086"/>
                <a:gd name="connsiteY15-928" fmla="*/ 1067768 h 4099313"/>
                <a:gd name="connsiteX16-929" fmla="*/ 1629 w 3885086"/>
                <a:gd name="connsiteY16-930" fmla="*/ 908652 h 4099313"/>
                <a:gd name="connsiteX17-931" fmla="*/ 1621631 w 3885086"/>
                <a:gd name="connsiteY17-932" fmla="*/ 0 h 4099313"/>
                <a:gd name="connsiteX0-933" fmla="*/ 270720 w 3760643"/>
                <a:gd name="connsiteY0-934" fmla="*/ 1067768 h 2047473"/>
                <a:gd name="connsiteX1-935" fmla="*/ 273843 w 3760643"/>
                <a:gd name="connsiteY1-936" fmla="*/ 1069614 h 2047473"/>
                <a:gd name="connsiteX2-937" fmla="*/ 270720 w 3760643"/>
                <a:gd name="connsiteY2-938" fmla="*/ 1067768 h 2047473"/>
                <a:gd name="connsiteX3-939" fmla="*/ 0 w 3760643"/>
                <a:gd name="connsiteY3-940" fmla="*/ 907689 h 2047473"/>
                <a:gd name="connsiteX4-941" fmla="*/ 1629 w 3760643"/>
                <a:gd name="connsiteY4-942" fmla="*/ 908652 h 2047473"/>
                <a:gd name="connsiteX5-943" fmla="*/ 0 w 3760643"/>
                <a:gd name="connsiteY5-944" fmla="*/ 907689 h 2047473"/>
                <a:gd name="connsiteX6-945" fmla="*/ 1621631 w 3760643"/>
                <a:gd name="connsiteY6-946" fmla="*/ 312073 h 2047473"/>
                <a:gd name="connsiteX7-947" fmla="*/ 1621631 w 3760643"/>
                <a:gd name="connsiteY7-948" fmla="*/ 312377 h 2047473"/>
                <a:gd name="connsiteX8-949" fmla="*/ 1621631 w 3760643"/>
                <a:gd name="connsiteY8-950" fmla="*/ 312073 h 2047473"/>
                <a:gd name="connsiteX9-951" fmla="*/ 3447906 w 3760643"/>
                <a:gd name="connsiteY9-952" fmla="*/ 2047472 h 2047473"/>
                <a:gd name="connsiteX10-953" fmla="*/ 3759981 w 3760643"/>
                <a:gd name="connsiteY10-954" fmla="*/ 2047473 h 2047473"/>
                <a:gd name="connsiteX11-955" fmla="*/ 3447906 w 3760643"/>
                <a:gd name="connsiteY11-956" fmla="*/ 2047472 h 2047473"/>
                <a:gd name="connsiteX12-957" fmla="*/ 1621631 w 3760643"/>
                <a:gd name="connsiteY12-958" fmla="*/ 0 h 2047473"/>
                <a:gd name="connsiteX13-959" fmla="*/ 1621631 w 3760643"/>
                <a:gd name="connsiteY13-960" fmla="*/ 312073 h 2047473"/>
                <a:gd name="connsiteX14-961" fmla="*/ 270720 w 3760643"/>
                <a:gd name="connsiteY14-962" fmla="*/ 1067768 h 2047473"/>
                <a:gd name="connsiteX15-963" fmla="*/ 1629 w 3760643"/>
                <a:gd name="connsiteY15-964" fmla="*/ 908652 h 2047473"/>
                <a:gd name="connsiteX16-965" fmla="*/ 1621631 w 3760643"/>
                <a:gd name="connsiteY16-966" fmla="*/ 0 h 2047473"/>
                <a:gd name="connsiteX0-967" fmla="*/ 270720 w 1621631"/>
                <a:gd name="connsiteY0-968" fmla="*/ 1067768 h 1069614"/>
                <a:gd name="connsiteX1-969" fmla="*/ 273843 w 1621631"/>
                <a:gd name="connsiteY1-970" fmla="*/ 1069614 h 1069614"/>
                <a:gd name="connsiteX2-971" fmla="*/ 270720 w 1621631"/>
                <a:gd name="connsiteY2-972" fmla="*/ 1067768 h 1069614"/>
                <a:gd name="connsiteX3-973" fmla="*/ 0 w 1621631"/>
                <a:gd name="connsiteY3-974" fmla="*/ 907689 h 1069614"/>
                <a:gd name="connsiteX4-975" fmla="*/ 1629 w 1621631"/>
                <a:gd name="connsiteY4-976" fmla="*/ 908652 h 1069614"/>
                <a:gd name="connsiteX5-977" fmla="*/ 0 w 1621631"/>
                <a:gd name="connsiteY5-978" fmla="*/ 907689 h 1069614"/>
                <a:gd name="connsiteX6-979" fmla="*/ 1621631 w 1621631"/>
                <a:gd name="connsiteY6-980" fmla="*/ 312073 h 1069614"/>
                <a:gd name="connsiteX7-981" fmla="*/ 1621631 w 1621631"/>
                <a:gd name="connsiteY7-982" fmla="*/ 312377 h 1069614"/>
                <a:gd name="connsiteX8-983" fmla="*/ 1621631 w 1621631"/>
                <a:gd name="connsiteY8-984" fmla="*/ 312073 h 1069614"/>
                <a:gd name="connsiteX9-985" fmla="*/ 1621631 w 1621631"/>
                <a:gd name="connsiteY9-986" fmla="*/ 0 h 1069614"/>
                <a:gd name="connsiteX10-987" fmla="*/ 1621631 w 1621631"/>
                <a:gd name="connsiteY10-988" fmla="*/ 312073 h 1069614"/>
                <a:gd name="connsiteX11-989" fmla="*/ 270720 w 1621631"/>
                <a:gd name="connsiteY11-990" fmla="*/ 1067768 h 1069614"/>
                <a:gd name="connsiteX12-991" fmla="*/ 1629 w 1621631"/>
                <a:gd name="connsiteY12-992" fmla="*/ 908652 h 1069614"/>
                <a:gd name="connsiteX13-993" fmla="*/ 1621631 w 1621631"/>
                <a:gd name="connsiteY13-994" fmla="*/ 0 h 1069614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  <a:cxn ang="0">
                  <a:pos x="connsiteX13-27" y="connsiteY13-28"/>
                </a:cxn>
              </a:cxnLst>
              <a:rect l="l" t="t" r="r" b="b"/>
              <a:pathLst>
                <a:path w="1621631" h="1069614">
                  <a:moveTo>
                    <a:pt x="270720" y="1067768"/>
                  </a:moveTo>
                  <a:lnTo>
                    <a:pt x="273843" y="1069614"/>
                  </a:lnTo>
                  <a:lnTo>
                    <a:pt x="270720" y="1067768"/>
                  </a:lnTo>
                  <a:close/>
                  <a:moveTo>
                    <a:pt x="0" y="907689"/>
                  </a:moveTo>
                  <a:lnTo>
                    <a:pt x="1629" y="908652"/>
                  </a:lnTo>
                  <a:lnTo>
                    <a:pt x="0" y="907689"/>
                  </a:lnTo>
                  <a:close/>
                  <a:moveTo>
                    <a:pt x="1621631" y="312073"/>
                  </a:moveTo>
                  <a:lnTo>
                    <a:pt x="1621631" y="312377"/>
                  </a:lnTo>
                  <a:lnTo>
                    <a:pt x="1621631" y="312073"/>
                  </a:lnTo>
                  <a:close/>
                  <a:moveTo>
                    <a:pt x="1621631" y="0"/>
                  </a:moveTo>
                  <a:lnTo>
                    <a:pt x="1621631" y="312073"/>
                  </a:lnTo>
                  <a:cubicBezTo>
                    <a:pt x="1059988" y="337356"/>
                    <a:pt x="568425" y="631117"/>
                    <a:pt x="270720" y="1067768"/>
                  </a:cubicBezTo>
                  <a:lnTo>
                    <a:pt x="1629" y="908652"/>
                  </a:lnTo>
                  <a:cubicBezTo>
                    <a:pt x="354259" y="380480"/>
                    <a:pt x="945677" y="25494"/>
                    <a:pt x="1621631" y="0"/>
                  </a:cubicBezTo>
                  <a:close/>
                </a:path>
              </a:pathLst>
            </a:custGeom>
            <a:solidFill>
              <a:srgbClr val="B1B5E1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<a:noAutofit/>
            </a:bodyPr>
            <a:lstStyle/>
            <a:p>
              <a:pPr algn="ctr" defTabSz="698500" fontAlgn="base">
                <a:spcBef>
                  <a:spcPct val="0"/>
                </a:spcBef>
                <a:spcAft>
                  <a:spcPct val="0"/>
                </a:spcAft>
              </a:pPr>
              <a:endParaRPr lang="en-US" sz="2400" spc="-38" dirty="0">
                <a:solidFill>
                  <a:srgbClr val="ADACC8"/>
                </a:solidFill>
                <a:cs typeface="+mn-ea"/>
                <a:sym typeface="+mn-lt"/>
              </a:endParaRPr>
            </a:p>
          </p:txBody>
        </p:sp>
        <p:sp>
          <p:nvSpPr>
            <p:cNvPr id="11" name="Freeform 61"/>
            <p:cNvSpPr/>
            <p:nvPr/>
          </p:nvSpPr>
          <p:spPr bwMode="auto">
            <a:xfrm rot="3645706" flipH="1">
              <a:off x="8875073" y="3127550"/>
              <a:ext cx="1621631" cy="1069614"/>
            </a:xfrm>
            <a:custGeom>
              <a:avLst/>
              <a:gdLst>
                <a:gd name="connsiteX0" fmla="*/ 668844 w 4158105"/>
                <a:gd name="connsiteY0" fmla="*/ 1079241 h 4110786"/>
                <a:gd name="connsiteX1" fmla="*/ 671967 w 4158105"/>
                <a:gd name="connsiteY1" fmla="*/ 1081087 h 4110786"/>
                <a:gd name="connsiteX2" fmla="*/ 576717 w 4158105"/>
                <a:gd name="connsiteY2" fmla="*/ 1235869 h 4110786"/>
                <a:gd name="connsiteX3" fmla="*/ 574232 w 4158105"/>
                <a:gd name="connsiteY3" fmla="*/ 1234330 h 4110786"/>
                <a:gd name="connsiteX4" fmla="*/ 668844 w 4158105"/>
                <a:gd name="connsiteY4" fmla="*/ 1079241 h 4110786"/>
                <a:gd name="connsiteX5" fmla="*/ 398124 w 4158105"/>
                <a:gd name="connsiteY5" fmla="*/ 919162 h 4110786"/>
                <a:gd name="connsiteX6" fmla="*/ 399753 w 4158105"/>
                <a:gd name="connsiteY6" fmla="*/ 920125 h 4110786"/>
                <a:gd name="connsiteX7" fmla="*/ 308772 w 4158105"/>
                <a:gd name="connsiteY7" fmla="*/ 1069886 h 4110786"/>
                <a:gd name="connsiteX8" fmla="*/ 307636 w 4158105"/>
                <a:gd name="connsiteY8" fmla="*/ 1069182 h 4110786"/>
                <a:gd name="connsiteX9" fmla="*/ 398124 w 4158105"/>
                <a:gd name="connsiteY9" fmla="*/ 919162 h 4110786"/>
                <a:gd name="connsiteX10" fmla="*/ 2106264 w 4158105"/>
                <a:gd name="connsiteY10" fmla="*/ 319178 h 4110786"/>
                <a:gd name="connsiteX11" fmla="*/ 2198792 w 4158105"/>
                <a:gd name="connsiteY11" fmla="*/ 323850 h 4110786"/>
                <a:gd name="connsiteX12" fmla="*/ 2019755 w 4158105"/>
                <a:gd name="connsiteY12" fmla="*/ 323850 h 4110786"/>
                <a:gd name="connsiteX13" fmla="*/ 2019755 w 4158105"/>
                <a:gd name="connsiteY13" fmla="*/ 323546 h 4110786"/>
                <a:gd name="connsiteX14" fmla="*/ 2106264 w 4158105"/>
                <a:gd name="connsiteY14" fmla="*/ 319178 h 4110786"/>
                <a:gd name="connsiteX15" fmla="*/ 2224351 w 4158105"/>
                <a:gd name="connsiteY15" fmla="*/ 13068 h 4110786"/>
                <a:gd name="connsiteX16" fmla="*/ 4158105 w 4158105"/>
                <a:gd name="connsiteY16" fmla="*/ 2058946 h 4110786"/>
                <a:gd name="connsiteX17" fmla="*/ 2106265 w 4158105"/>
                <a:gd name="connsiteY17" fmla="*/ 4110786 h 4110786"/>
                <a:gd name="connsiteX18" fmla="*/ 54424 w 4158105"/>
                <a:gd name="connsiteY18" fmla="*/ 2058946 h 4110786"/>
                <a:gd name="connsiteX19" fmla="*/ 574232 w 4158105"/>
                <a:gd name="connsiteY19" fmla="*/ 1234330 h 4110786"/>
                <a:gd name="connsiteX20" fmla="*/ 366497 w 4158105"/>
                <a:gd name="connsiteY20" fmla="*/ 2058945 h 4110786"/>
                <a:gd name="connsiteX21" fmla="*/ 2106264 w 4158105"/>
                <a:gd name="connsiteY21" fmla="*/ 3798712 h 4110786"/>
                <a:gd name="connsiteX22" fmla="*/ 3846030 w 4158105"/>
                <a:gd name="connsiteY22" fmla="*/ 2058945 h 4110786"/>
                <a:gd name="connsiteX23" fmla="*/ 2198792 w 4158105"/>
                <a:gd name="connsiteY23" fmla="*/ 323850 h 4110786"/>
                <a:gd name="connsiteX24" fmla="*/ 2219780 w 4158105"/>
                <a:gd name="connsiteY24" fmla="*/ 323850 h 4110786"/>
                <a:gd name="connsiteX25" fmla="*/ 2224351 w 4158105"/>
                <a:gd name="connsiteY25" fmla="*/ 13068 h 4110786"/>
                <a:gd name="connsiteX26" fmla="*/ 2019755 w 4158105"/>
                <a:gd name="connsiteY26" fmla="*/ 11473 h 4110786"/>
                <a:gd name="connsiteX27" fmla="*/ 2019755 w 4158105"/>
                <a:gd name="connsiteY27" fmla="*/ 323546 h 4110786"/>
                <a:gd name="connsiteX28" fmla="*/ 668844 w 4158105"/>
                <a:gd name="connsiteY28" fmla="*/ 1079241 h 4110786"/>
                <a:gd name="connsiteX29" fmla="*/ 399753 w 4158105"/>
                <a:gd name="connsiteY29" fmla="*/ 920125 h 4110786"/>
                <a:gd name="connsiteX30" fmla="*/ 2019755 w 4158105"/>
                <a:gd name="connsiteY30" fmla="*/ 11473 h 4110786"/>
                <a:gd name="connsiteX31" fmla="*/ 2224543 w 4158105"/>
                <a:gd name="connsiteY31" fmla="*/ 0 h 4110786"/>
                <a:gd name="connsiteX32" fmla="*/ 2224351 w 4158105"/>
                <a:gd name="connsiteY32" fmla="*/ 13068 h 4110786"/>
                <a:gd name="connsiteX33" fmla="*/ 2106265 w 4158105"/>
                <a:gd name="connsiteY33" fmla="*/ 7105 h 4110786"/>
                <a:gd name="connsiteX34" fmla="*/ 2019755 w 4158105"/>
                <a:gd name="connsiteY34" fmla="*/ 11473 h 4110786"/>
                <a:gd name="connsiteX35" fmla="*/ 2019755 w 4158105"/>
                <a:gd name="connsiteY35" fmla="*/ 2381 h 4110786"/>
                <a:gd name="connsiteX36" fmla="*/ 2224543 w 4158105"/>
                <a:gd name="connsiteY36" fmla="*/ 0 h 4110786"/>
                <a:gd name="connsiteX0-1" fmla="*/ 668844 w 4158105"/>
                <a:gd name="connsiteY0-2" fmla="*/ 1079241 h 4110786"/>
                <a:gd name="connsiteX1-3" fmla="*/ 671967 w 4158105"/>
                <a:gd name="connsiteY1-4" fmla="*/ 1081087 h 4110786"/>
                <a:gd name="connsiteX2-5" fmla="*/ 576717 w 4158105"/>
                <a:gd name="connsiteY2-6" fmla="*/ 1235869 h 4110786"/>
                <a:gd name="connsiteX3-7" fmla="*/ 574232 w 4158105"/>
                <a:gd name="connsiteY3-8" fmla="*/ 1234330 h 4110786"/>
                <a:gd name="connsiteX4-9" fmla="*/ 668844 w 4158105"/>
                <a:gd name="connsiteY4-10" fmla="*/ 1079241 h 4110786"/>
                <a:gd name="connsiteX5-11" fmla="*/ 398124 w 4158105"/>
                <a:gd name="connsiteY5-12" fmla="*/ 919162 h 4110786"/>
                <a:gd name="connsiteX6-13" fmla="*/ 399753 w 4158105"/>
                <a:gd name="connsiteY6-14" fmla="*/ 920125 h 4110786"/>
                <a:gd name="connsiteX7-15" fmla="*/ 308772 w 4158105"/>
                <a:gd name="connsiteY7-16" fmla="*/ 1069886 h 4110786"/>
                <a:gd name="connsiteX8-17" fmla="*/ 398124 w 4158105"/>
                <a:gd name="connsiteY8-18" fmla="*/ 919162 h 4110786"/>
                <a:gd name="connsiteX9-19" fmla="*/ 2106264 w 4158105"/>
                <a:gd name="connsiteY9-20" fmla="*/ 319178 h 4110786"/>
                <a:gd name="connsiteX10-21" fmla="*/ 2198792 w 4158105"/>
                <a:gd name="connsiteY10-22" fmla="*/ 323850 h 4110786"/>
                <a:gd name="connsiteX11-23" fmla="*/ 2019755 w 4158105"/>
                <a:gd name="connsiteY11-24" fmla="*/ 323850 h 4110786"/>
                <a:gd name="connsiteX12-25" fmla="*/ 2019755 w 4158105"/>
                <a:gd name="connsiteY12-26" fmla="*/ 323546 h 4110786"/>
                <a:gd name="connsiteX13-27" fmla="*/ 2106264 w 4158105"/>
                <a:gd name="connsiteY13-28" fmla="*/ 319178 h 4110786"/>
                <a:gd name="connsiteX14-29" fmla="*/ 2224351 w 4158105"/>
                <a:gd name="connsiteY14-30" fmla="*/ 13068 h 4110786"/>
                <a:gd name="connsiteX15-31" fmla="*/ 4158105 w 4158105"/>
                <a:gd name="connsiteY15-32" fmla="*/ 2058946 h 4110786"/>
                <a:gd name="connsiteX16-33" fmla="*/ 2106265 w 4158105"/>
                <a:gd name="connsiteY16-34" fmla="*/ 4110786 h 4110786"/>
                <a:gd name="connsiteX17-35" fmla="*/ 54424 w 4158105"/>
                <a:gd name="connsiteY17-36" fmla="*/ 2058946 h 4110786"/>
                <a:gd name="connsiteX18-37" fmla="*/ 574232 w 4158105"/>
                <a:gd name="connsiteY18-38" fmla="*/ 1234330 h 4110786"/>
                <a:gd name="connsiteX19-39" fmla="*/ 366497 w 4158105"/>
                <a:gd name="connsiteY19-40" fmla="*/ 2058945 h 4110786"/>
                <a:gd name="connsiteX20-41" fmla="*/ 2106264 w 4158105"/>
                <a:gd name="connsiteY20-42" fmla="*/ 3798712 h 4110786"/>
                <a:gd name="connsiteX21-43" fmla="*/ 3846030 w 4158105"/>
                <a:gd name="connsiteY21-44" fmla="*/ 2058945 h 4110786"/>
                <a:gd name="connsiteX22-45" fmla="*/ 2198792 w 4158105"/>
                <a:gd name="connsiteY22-46" fmla="*/ 323850 h 4110786"/>
                <a:gd name="connsiteX23-47" fmla="*/ 2219780 w 4158105"/>
                <a:gd name="connsiteY23-48" fmla="*/ 323850 h 4110786"/>
                <a:gd name="connsiteX24-49" fmla="*/ 2224351 w 4158105"/>
                <a:gd name="connsiteY24-50" fmla="*/ 13068 h 4110786"/>
                <a:gd name="connsiteX25-51" fmla="*/ 2019755 w 4158105"/>
                <a:gd name="connsiteY25-52" fmla="*/ 11473 h 4110786"/>
                <a:gd name="connsiteX26-53" fmla="*/ 2019755 w 4158105"/>
                <a:gd name="connsiteY26-54" fmla="*/ 323546 h 4110786"/>
                <a:gd name="connsiteX27-55" fmla="*/ 668844 w 4158105"/>
                <a:gd name="connsiteY27-56" fmla="*/ 1079241 h 4110786"/>
                <a:gd name="connsiteX28-57" fmla="*/ 399753 w 4158105"/>
                <a:gd name="connsiteY28-58" fmla="*/ 920125 h 4110786"/>
                <a:gd name="connsiteX29-59" fmla="*/ 2019755 w 4158105"/>
                <a:gd name="connsiteY29-60" fmla="*/ 11473 h 4110786"/>
                <a:gd name="connsiteX30-61" fmla="*/ 2224543 w 4158105"/>
                <a:gd name="connsiteY30-62" fmla="*/ 0 h 4110786"/>
                <a:gd name="connsiteX31-63" fmla="*/ 2224351 w 4158105"/>
                <a:gd name="connsiteY31-64" fmla="*/ 13068 h 4110786"/>
                <a:gd name="connsiteX32-65" fmla="*/ 2106265 w 4158105"/>
                <a:gd name="connsiteY32-66" fmla="*/ 7105 h 4110786"/>
                <a:gd name="connsiteX33-67" fmla="*/ 2019755 w 4158105"/>
                <a:gd name="connsiteY33-68" fmla="*/ 11473 h 4110786"/>
                <a:gd name="connsiteX34-69" fmla="*/ 2019755 w 4158105"/>
                <a:gd name="connsiteY34-70" fmla="*/ 2381 h 4110786"/>
                <a:gd name="connsiteX35-71" fmla="*/ 2224543 w 4158105"/>
                <a:gd name="connsiteY35-72" fmla="*/ 0 h 4110786"/>
                <a:gd name="connsiteX0-73" fmla="*/ 668844 w 4158105"/>
                <a:gd name="connsiteY0-74" fmla="*/ 1079241 h 4110786"/>
                <a:gd name="connsiteX1-75" fmla="*/ 671967 w 4158105"/>
                <a:gd name="connsiteY1-76" fmla="*/ 1081087 h 4110786"/>
                <a:gd name="connsiteX2-77" fmla="*/ 576717 w 4158105"/>
                <a:gd name="connsiteY2-78" fmla="*/ 1235869 h 4110786"/>
                <a:gd name="connsiteX3-79" fmla="*/ 574232 w 4158105"/>
                <a:gd name="connsiteY3-80" fmla="*/ 1234330 h 4110786"/>
                <a:gd name="connsiteX4-81" fmla="*/ 668844 w 4158105"/>
                <a:gd name="connsiteY4-82" fmla="*/ 1079241 h 4110786"/>
                <a:gd name="connsiteX5-83" fmla="*/ 398124 w 4158105"/>
                <a:gd name="connsiteY5-84" fmla="*/ 919162 h 4110786"/>
                <a:gd name="connsiteX6-85" fmla="*/ 399753 w 4158105"/>
                <a:gd name="connsiteY6-86" fmla="*/ 920125 h 4110786"/>
                <a:gd name="connsiteX7-87" fmla="*/ 398124 w 4158105"/>
                <a:gd name="connsiteY7-88" fmla="*/ 919162 h 4110786"/>
                <a:gd name="connsiteX8-89" fmla="*/ 2106264 w 4158105"/>
                <a:gd name="connsiteY8-90" fmla="*/ 319178 h 4110786"/>
                <a:gd name="connsiteX9-91" fmla="*/ 2198792 w 4158105"/>
                <a:gd name="connsiteY9-92" fmla="*/ 323850 h 4110786"/>
                <a:gd name="connsiteX10-93" fmla="*/ 2019755 w 4158105"/>
                <a:gd name="connsiteY10-94" fmla="*/ 323850 h 4110786"/>
                <a:gd name="connsiteX11-95" fmla="*/ 2019755 w 4158105"/>
                <a:gd name="connsiteY11-96" fmla="*/ 323546 h 4110786"/>
                <a:gd name="connsiteX12-97" fmla="*/ 2106264 w 4158105"/>
                <a:gd name="connsiteY12-98" fmla="*/ 319178 h 4110786"/>
                <a:gd name="connsiteX13-99" fmla="*/ 2224351 w 4158105"/>
                <a:gd name="connsiteY13-100" fmla="*/ 13068 h 4110786"/>
                <a:gd name="connsiteX14-101" fmla="*/ 4158105 w 4158105"/>
                <a:gd name="connsiteY14-102" fmla="*/ 2058946 h 4110786"/>
                <a:gd name="connsiteX15-103" fmla="*/ 2106265 w 4158105"/>
                <a:gd name="connsiteY15-104" fmla="*/ 4110786 h 4110786"/>
                <a:gd name="connsiteX16-105" fmla="*/ 54424 w 4158105"/>
                <a:gd name="connsiteY16-106" fmla="*/ 2058946 h 4110786"/>
                <a:gd name="connsiteX17-107" fmla="*/ 574232 w 4158105"/>
                <a:gd name="connsiteY17-108" fmla="*/ 1234330 h 4110786"/>
                <a:gd name="connsiteX18-109" fmla="*/ 366497 w 4158105"/>
                <a:gd name="connsiteY18-110" fmla="*/ 2058945 h 4110786"/>
                <a:gd name="connsiteX19-111" fmla="*/ 2106264 w 4158105"/>
                <a:gd name="connsiteY19-112" fmla="*/ 3798712 h 4110786"/>
                <a:gd name="connsiteX20-113" fmla="*/ 3846030 w 4158105"/>
                <a:gd name="connsiteY20-114" fmla="*/ 2058945 h 4110786"/>
                <a:gd name="connsiteX21-115" fmla="*/ 2198792 w 4158105"/>
                <a:gd name="connsiteY21-116" fmla="*/ 323850 h 4110786"/>
                <a:gd name="connsiteX22-117" fmla="*/ 2219780 w 4158105"/>
                <a:gd name="connsiteY22-118" fmla="*/ 323850 h 4110786"/>
                <a:gd name="connsiteX23-119" fmla="*/ 2224351 w 4158105"/>
                <a:gd name="connsiteY23-120" fmla="*/ 13068 h 4110786"/>
                <a:gd name="connsiteX24-121" fmla="*/ 2019755 w 4158105"/>
                <a:gd name="connsiteY24-122" fmla="*/ 11473 h 4110786"/>
                <a:gd name="connsiteX25-123" fmla="*/ 2019755 w 4158105"/>
                <a:gd name="connsiteY25-124" fmla="*/ 323546 h 4110786"/>
                <a:gd name="connsiteX26-125" fmla="*/ 668844 w 4158105"/>
                <a:gd name="connsiteY26-126" fmla="*/ 1079241 h 4110786"/>
                <a:gd name="connsiteX27-127" fmla="*/ 399753 w 4158105"/>
                <a:gd name="connsiteY27-128" fmla="*/ 920125 h 4110786"/>
                <a:gd name="connsiteX28-129" fmla="*/ 2019755 w 4158105"/>
                <a:gd name="connsiteY28-130" fmla="*/ 11473 h 4110786"/>
                <a:gd name="connsiteX29-131" fmla="*/ 2224543 w 4158105"/>
                <a:gd name="connsiteY29-132" fmla="*/ 0 h 4110786"/>
                <a:gd name="connsiteX30-133" fmla="*/ 2224351 w 4158105"/>
                <a:gd name="connsiteY30-134" fmla="*/ 13068 h 4110786"/>
                <a:gd name="connsiteX31-135" fmla="*/ 2106265 w 4158105"/>
                <a:gd name="connsiteY31-136" fmla="*/ 7105 h 4110786"/>
                <a:gd name="connsiteX32-137" fmla="*/ 2019755 w 4158105"/>
                <a:gd name="connsiteY32-138" fmla="*/ 11473 h 4110786"/>
                <a:gd name="connsiteX33-139" fmla="*/ 2019755 w 4158105"/>
                <a:gd name="connsiteY33-140" fmla="*/ 2381 h 4110786"/>
                <a:gd name="connsiteX34-141" fmla="*/ 2224543 w 4158105"/>
                <a:gd name="connsiteY34-142" fmla="*/ 0 h 4110786"/>
                <a:gd name="connsiteX0-143" fmla="*/ 739525 w 4228786"/>
                <a:gd name="connsiteY0-144" fmla="*/ 1079241 h 4110786"/>
                <a:gd name="connsiteX1-145" fmla="*/ 742648 w 4228786"/>
                <a:gd name="connsiteY1-146" fmla="*/ 1081087 h 4110786"/>
                <a:gd name="connsiteX2-147" fmla="*/ 647398 w 4228786"/>
                <a:gd name="connsiteY2-148" fmla="*/ 1235869 h 4110786"/>
                <a:gd name="connsiteX3-149" fmla="*/ 644913 w 4228786"/>
                <a:gd name="connsiteY3-150" fmla="*/ 1234330 h 4110786"/>
                <a:gd name="connsiteX4-151" fmla="*/ 739525 w 4228786"/>
                <a:gd name="connsiteY4-152" fmla="*/ 1079241 h 4110786"/>
                <a:gd name="connsiteX5-153" fmla="*/ 468805 w 4228786"/>
                <a:gd name="connsiteY5-154" fmla="*/ 919162 h 4110786"/>
                <a:gd name="connsiteX6-155" fmla="*/ 470434 w 4228786"/>
                <a:gd name="connsiteY6-156" fmla="*/ 920125 h 4110786"/>
                <a:gd name="connsiteX7-157" fmla="*/ 468805 w 4228786"/>
                <a:gd name="connsiteY7-158" fmla="*/ 919162 h 4110786"/>
                <a:gd name="connsiteX8-159" fmla="*/ 2176945 w 4228786"/>
                <a:gd name="connsiteY8-160" fmla="*/ 319178 h 4110786"/>
                <a:gd name="connsiteX9-161" fmla="*/ 2269473 w 4228786"/>
                <a:gd name="connsiteY9-162" fmla="*/ 323850 h 4110786"/>
                <a:gd name="connsiteX10-163" fmla="*/ 2090436 w 4228786"/>
                <a:gd name="connsiteY10-164" fmla="*/ 323850 h 4110786"/>
                <a:gd name="connsiteX11-165" fmla="*/ 2090436 w 4228786"/>
                <a:gd name="connsiteY11-166" fmla="*/ 323546 h 4110786"/>
                <a:gd name="connsiteX12-167" fmla="*/ 2176945 w 4228786"/>
                <a:gd name="connsiteY12-168" fmla="*/ 319178 h 4110786"/>
                <a:gd name="connsiteX13-169" fmla="*/ 2295032 w 4228786"/>
                <a:gd name="connsiteY13-170" fmla="*/ 13068 h 4110786"/>
                <a:gd name="connsiteX14-171" fmla="*/ 4228786 w 4228786"/>
                <a:gd name="connsiteY14-172" fmla="*/ 2058946 h 4110786"/>
                <a:gd name="connsiteX15-173" fmla="*/ 2176946 w 4228786"/>
                <a:gd name="connsiteY15-174" fmla="*/ 4110786 h 4110786"/>
                <a:gd name="connsiteX16-175" fmla="*/ 125105 w 4228786"/>
                <a:gd name="connsiteY16-176" fmla="*/ 2058946 h 4110786"/>
                <a:gd name="connsiteX17-177" fmla="*/ 437178 w 4228786"/>
                <a:gd name="connsiteY17-178" fmla="*/ 2058945 h 4110786"/>
                <a:gd name="connsiteX18-179" fmla="*/ 2176945 w 4228786"/>
                <a:gd name="connsiteY18-180" fmla="*/ 3798712 h 4110786"/>
                <a:gd name="connsiteX19-181" fmla="*/ 3916711 w 4228786"/>
                <a:gd name="connsiteY19-182" fmla="*/ 2058945 h 4110786"/>
                <a:gd name="connsiteX20-183" fmla="*/ 2269473 w 4228786"/>
                <a:gd name="connsiteY20-184" fmla="*/ 323850 h 4110786"/>
                <a:gd name="connsiteX21-185" fmla="*/ 2290461 w 4228786"/>
                <a:gd name="connsiteY21-186" fmla="*/ 323850 h 4110786"/>
                <a:gd name="connsiteX22-187" fmla="*/ 2295032 w 4228786"/>
                <a:gd name="connsiteY22-188" fmla="*/ 13068 h 4110786"/>
                <a:gd name="connsiteX23-189" fmla="*/ 2090436 w 4228786"/>
                <a:gd name="connsiteY23-190" fmla="*/ 11473 h 4110786"/>
                <a:gd name="connsiteX24-191" fmla="*/ 2090436 w 4228786"/>
                <a:gd name="connsiteY24-192" fmla="*/ 323546 h 4110786"/>
                <a:gd name="connsiteX25-193" fmla="*/ 739525 w 4228786"/>
                <a:gd name="connsiteY25-194" fmla="*/ 1079241 h 4110786"/>
                <a:gd name="connsiteX26-195" fmla="*/ 470434 w 4228786"/>
                <a:gd name="connsiteY26-196" fmla="*/ 920125 h 4110786"/>
                <a:gd name="connsiteX27-197" fmla="*/ 2090436 w 4228786"/>
                <a:gd name="connsiteY27-198" fmla="*/ 11473 h 4110786"/>
                <a:gd name="connsiteX28-199" fmla="*/ 2295224 w 4228786"/>
                <a:gd name="connsiteY28-200" fmla="*/ 0 h 4110786"/>
                <a:gd name="connsiteX29-201" fmla="*/ 2295032 w 4228786"/>
                <a:gd name="connsiteY29-202" fmla="*/ 13068 h 4110786"/>
                <a:gd name="connsiteX30-203" fmla="*/ 2176946 w 4228786"/>
                <a:gd name="connsiteY30-204" fmla="*/ 7105 h 4110786"/>
                <a:gd name="connsiteX31-205" fmla="*/ 2090436 w 4228786"/>
                <a:gd name="connsiteY31-206" fmla="*/ 11473 h 4110786"/>
                <a:gd name="connsiteX32-207" fmla="*/ 2090436 w 4228786"/>
                <a:gd name="connsiteY32-208" fmla="*/ 2381 h 4110786"/>
                <a:gd name="connsiteX33-209" fmla="*/ 2295224 w 4228786"/>
                <a:gd name="connsiteY33-210" fmla="*/ 0 h 4110786"/>
                <a:gd name="connsiteX0-211" fmla="*/ 739525 w 4228786"/>
                <a:gd name="connsiteY0-212" fmla="*/ 1079241 h 4110786"/>
                <a:gd name="connsiteX1-213" fmla="*/ 742648 w 4228786"/>
                <a:gd name="connsiteY1-214" fmla="*/ 1081087 h 4110786"/>
                <a:gd name="connsiteX2-215" fmla="*/ 647398 w 4228786"/>
                <a:gd name="connsiteY2-216" fmla="*/ 1235869 h 4110786"/>
                <a:gd name="connsiteX3-217" fmla="*/ 739525 w 4228786"/>
                <a:gd name="connsiteY3-218" fmla="*/ 1079241 h 4110786"/>
                <a:gd name="connsiteX4-219" fmla="*/ 468805 w 4228786"/>
                <a:gd name="connsiteY4-220" fmla="*/ 919162 h 4110786"/>
                <a:gd name="connsiteX5-221" fmla="*/ 470434 w 4228786"/>
                <a:gd name="connsiteY5-222" fmla="*/ 920125 h 4110786"/>
                <a:gd name="connsiteX6-223" fmla="*/ 468805 w 4228786"/>
                <a:gd name="connsiteY6-224" fmla="*/ 919162 h 4110786"/>
                <a:gd name="connsiteX7-225" fmla="*/ 2176945 w 4228786"/>
                <a:gd name="connsiteY7-226" fmla="*/ 319178 h 4110786"/>
                <a:gd name="connsiteX8-227" fmla="*/ 2269473 w 4228786"/>
                <a:gd name="connsiteY8-228" fmla="*/ 323850 h 4110786"/>
                <a:gd name="connsiteX9-229" fmla="*/ 2090436 w 4228786"/>
                <a:gd name="connsiteY9-230" fmla="*/ 323850 h 4110786"/>
                <a:gd name="connsiteX10-231" fmla="*/ 2090436 w 4228786"/>
                <a:gd name="connsiteY10-232" fmla="*/ 323546 h 4110786"/>
                <a:gd name="connsiteX11-233" fmla="*/ 2176945 w 4228786"/>
                <a:gd name="connsiteY11-234" fmla="*/ 319178 h 4110786"/>
                <a:gd name="connsiteX12-235" fmla="*/ 2295032 w 4228786"/>
                <a:gd name="connsiteY12-236" fmla="*/ 13068 h 4110786"/>
                <a:gd name="connsiteX13-237" fmla="*/ 4228786 w 4228786"/>
                <a:gd name="connsiteY13-238" fmla="*/ 2058946 h 4110786"/>
                <a:gd name="connsiteX14-239" fmla="*/ 2176946 w 4228786"/>
                <a:gd name="connsiteY14-240" fmla="*/ 4110786 h 4110786"/>
                <a:gd name="connsiteX15-241" fmla="*/ 125105 w 4228786"/>
                <a:gd name="connsiteY15-242" fmla="*/ 2058946 h 4110786"/>
                <a:gd name="connsiteX16-243" fmla="*/ 437178 w 4228786"/>
                <a:gd name="connsiteY16-244" fmla="*/ 2058945 h 4110786"/>
                <a:gd name="connsiteX17-245" fmla="*/ 2176945 w 4228786"/>
                <a:gd name="connsiteY17-246" fmla="*/ 3798712 h 4110786"/>
                <a:gd name="connsiteX18-247" fmla="*/ 3916711 w 4228786"/>
                <a:gd name="connsiteY18-248" fmla="*/ 2058945 h 4110786"/>
                <a:gd name="connsiteX19-249" fmla="*/ 2269473 w 4228786"/>
                <a:gd name="connsiteY19-250" fmla="*/ 323850 h 4110786"/>
                <a:gd name="connsiteX20-251" fmla="*/ 2290461 w 4228786"/>
                <a:gd name="connsiteY20-252" fmla="*/ 323850 h 4110786"/>
                <a:gd name="connsiteX21-253" fmla="*/ 2295032 w 4228786"/>
                <a:gd name="connsiteY21-254" fmla="*/ 13068 h 4110786"/>
                <a:gd name="connsiteX22-255" fmla="*/ 2090436 w 4228786"/>
                <a:gd name="connsiteY22-256" fmla="*/ 11473 h 4110786"/>
                <a:gd name="connsiteX23-257" fmla="*/ 2090436 w 4228786"/>
                <a:gd name="connsiteY23-258" fmla="*/ 323546 h 4110786"/>
                <a:gd name="connsiteX24-259" fmla="*/ 739525 w 4228786"/>
                <a:gd name="connsiteY24-260" fmla="*/ 1079241 h 4110786"/>
                <a:gd name="connsiteX25-261" fmla="*/ 470434 w 4228786"/>
                <a:gd name="connsiteY25-262" fmla="*/ 920125 h 4110786"/>
                <a:gd name="connsiteX26-263" fmla="*/ 2090436 w 4228786"/>
                <a:gd name="connsiteY26-264" fmla="*/ 11473 h 4110786"/>
                <a:gd name="connsiteX27-265" fmla="*/ 2295224 w 4228786"/>
                <a:gd name="connsiteY27-266" fmla="*/ 0 h 4110786"/>
                <a:gd name="connsiteX28-267" fmla="*/ 2295032 w 4228786"/>
                <a:gd name="connsiteY28-268" fmla="*/ 13068 h 4110786"/>
                <a:gd name="connsiteX29-269" fmla="*/ 2176946 w 4228786"/>
                <a:gd name="connsiteY29-270" fmla="*/ 7105 h 4110786"/>
                <a:gd name="connsiteX30-271" fmla="*/ 2090436 w 4228786"/>
                <a:gd name="connsiteY30-272" fmla="*/ 11473 h 4110786"/>
                <a:gd name="connsiteX31-273" fmla="*/ 2090436 w 4228786"/>
                <a:gd name="connsiteY31-274" fmla="*/ 2381 h 4110786"/>
                <a:gd name="connsiteX32-275" fmla="*/ 2295224 w 4228786"/>
                <a:gd name="connsiteY32-276" fmla="*/ 0 h 4110786"/>
                <a:gd name="connsiteX0-277" fmla="*/ 739525 w 4228786"/>
                <a:gd name="connsiteY0-278" fmla="*/ 1079241 h 4110786"/>
                <a:gd name="connsiteX1-279" fmla="*/ 742648 w 4228786"/>
                <a:gd name="connsiteY1-280" fmla="*/ 1081087 h 4110786"/>
                <a:gd name="connsiteX2-281" fmla="*/ 739525 w 4228786"/>
                <a:gd name="connsiteY2-282" fmla="*/ 1079241 h 4110786"/>
                <a:gd name="connsiteX3-283" fmla="*/ 468805 w 4228786"/>
                <a:gd name="connsiteY3-284" fmla="*/ 919162 h 4110786"/>
                <a:gd name="connsiteX4-285" fmla="*/ 470434 w 4228786"/>
                <a:gd name="connsiteY4-286" fmla="*/ 920125 h 4110786"/>
                <a:gd name="connsiteX5-287" fmla="*/ 468805 w 4228786"/>
                <a:gd name="connsiteY5-288" fmla="*/ 919162 h 4110786"/>
                <a:gd name="connsiteX6-289" fmla="*/ 2176945 w 4228786"/>
                <a:gd name="connsiteY6-290" fmla="*/ 319178 h 4110786"/>
                <a:gd name="connsiteX7-291" fmla="*/ 2269473 w 4228786"/>
                <a:gd name="connsiteY7-292" fmla="*/ 323850 h 4110786"/>
                <a:gd name="connsiteX8-293" fmla="*/ 2090436 w 4228786"/>
                <a:gd name="connsiteY8-294" fmla="*/ 323850 h 4110786"/>
                <a:gd name="connsiteX9-295" fmla="*/ 2090436 w 4228786"/>
                <a:gd name="connsiteY9-296" fmla="*/ 323546 h 4110786"/>
                <a:gd name="connsiteX10-297" fmla="*/ 2176945 w 4228786"/>
                <a:gd name="connsiteY10-298" fmla="*/ 319178 h 4110786"/>
                <a:gd name="connsiteX11-299" fmla="*/ 2295032 w 4228786"/>
                <a:gd name="connsiteY11-300" fmla="*/ 13068 h 4110786"/>
                <a:gd name="connsiteX12-301" fmla="*/ 4228786 w 4228786"/>
                <a:gd name="connsiteY12-302" fmla="*/ 2058946 h 4110786"/>
                <a:gd name="connsiteX13-303" fmla="*/ 2176946 w 4228786"/>
                <a:gd name="connsiteY13-304" fmla="*/ 4110786 h 4110786"/>
                <a:gd name="connsiteX14-305" fmla="*/ 125105 w 4228786"/>
                <a:gd name="connsiteY14-306" fmla="*/ 2058946 h 4110786"/>
                <a:gd name="connsiteX15-307" fmla="*/ 437178 w 4228786"/>
                <a:gd name="connsiteY15-308" fmla="*/ 2058945 h 4110786"/>
                <a:gd name="connsiteX16-309" fmla="*/ 2176945 w 4228786"/>
                <a:gd name="connsiteY16-310" fmla="*/ 3798712 h 4110786"/>
                <a:gd name="connsiteX17-311" fmla="*/ 3916711 w 4228786"/>
                <a:gd name="connsiteY17-312" fmla="*/ 2058945 h 4110786"/>
                <a:gd name="connsiteX18-313" fmla="*/ 2269473 w 4228786"/>
                <a:gd name="connsiteY18-314" fmla="*/ 323850 h 4110786"/>
                <a:gd name="connsiteX19-315" fmla="*/ 2290461 w 4228786"/>
                <a:gd name="connsiteY19-316" fmla="*/ 323850 h 4110786"/>
                <a:gd name="connsiteX20-317" fmla="*/ 2295032 w 4228786"/>
                <a:gd name="connsiteY20-318" fmla="*/ 13068 h 4110786"/>
                <a:gd name="connsiteX21-319" fmla="*/ 2090436 w 4228786"/>
                <a:gd name="connsiteY21-320" fmla="*/ 11473 h 4110786"/>
                <a:gd name="connsiteX22-321" fmla="*/ 2090436 w 4228786"/>
                <a:gd name="connsiteY22-322" fmla="*/ 323546 h 4110786"/>
                <a:gd name="connsiteX23-323" fmla="*/ 739525 w 4228786"/>
                <a:gd name="connsiteY23-324" fmla="*/ 1079241 h 4110786"/>
                <a:gd name="connsiteX24-325" fmla="*/ 470434 w 4228786"/>
                <a:gd name="connsiteY24-326" fmla="*/ 920125 h 4110786"/>
                <a:gd name="connsiteX25-327" fmla="*/ 2090436 w 4228786"/>
                <a:gd name="connsiteY25-328" fmla="*/ 11473 h 4110786"/>
                <a:gd name="connsiteX26-329" fmla="*/ 2295224 w 4228786"/>
                <a:gd name="connsiteY26-330" fmla="*/ 0 h 4110786"/>
                <a:gd name="connsiteX27-331" fmla="*/ 2295032 w 4228786"/>
                <a:gd name="connsiteY27-332" fmla="*/ 13068 h 4110786"/>
                <a:gd name="connsiteX28-333" fmla="*/ 2176946 w 4228786"/>
                <a:gd name="connsiteY28-334" fmla="*/ 7105 h 4110786"/>
                <a:gd name="connsiteX29-335" fmla="*/ 2090436 w 4228786"/>
                <a:gd name="connsiteY29-336" fmla="*/ 11473 h 4110786"/>
                <a:gd name="connsiteX30-337" fmla="*/ 2090436 w 4228786"/>
                <a:gd name="connsiteY30-338" fmla="*/ 2381 h 4110786"/>
                <a:gd name="connsiteX31-339" fmla="*/ 2295224 w 4228786"/>
                <a:gd name="connsiteY31-340" fmla="*/ 0 h 4110786"/>
                <a:gd name="connsiteX0-341" fmla="*/ 739525 w 4228786"/>
                <a:gd name="connsiteY0-342" fmla="*/ 1079241 h 4110786"/>
                <a:gd name="connsiteX1-343" fmla="*/ 742648 w 4228786"/>
                <a:gd name="connsiteY1-344" fmla="*/ 1081087 h 4110786"/>
                <a:gd name="connsiteX2-345" fmla="*/ 739525 w 4228786"/>
                <a:gd name="connsiteY2-346" fmla="*/ 1079241 h 4110786"/>
                <a:gd name="connsiteX3-347" fmla="*/ 468805 w 4228786"/>
                <a:gd name="connsiteY3-348" fmla="*/ 919162 h 4110786"/>
                <a:gd name="connsiteX4-349" fmla="*/ 470434 w 4228786"/>
                <a:gd name="connsiteY4-350" fmla="*/ 920125 h 4110786"/>
                <a:gd name="connsiteX5-351" fmla="*/ 468805 w 4228786"/>
                <a:gd name="connsiteY5-352" fmla="*/ 919162 h 4110786"/>
                <a:gd name="connsiteX6-353" fmla="*/ 2176945 w 4228786"/>
                <a:gd name="connsiteY6-354" fmla="*/ 319178 h 4110786"/>
                <a:gd name="connsiteX7-355" fmla="*/ 2269473 w 4228786"/>
                <a:gd name="connsiteY7-356" fmla="*/ 323850 h 4110786"/>
                <a:gd name="connsiteX8-357" fmla="*/ 2090436 w 4228786"/>
                <a:gd name="connsiteY8-358" fmla="*/ 323850 h 4110786"/>
                <a:gd name="connsiteX9-359" fmla="*/ 2090436 w 4228786"/>
                <a:gd name="connsiteY9-360" fmla="*/ 323546 h 4110786"/>
                <a:gd name="connsiteX10-361" fmla="*/ 2176945 w 4228786"/>
                <a:gd name="connsiteY10-362" fmla="*/ 319178 h 4110786"/>
                <a:gd name="connsiteX11-363" fmla="*/ 2295032 w 4228786"/>
                <a:gd name="connsiteY11-364" fmla="*/ 13068 h 4110786"/>
                <a:gd name="connsiteX12-365" fmla="*/ 4228786 w 4228786"/>
                <a:gd name="connsiteY12-366" fmla="*/ 2058946 h 4110786"/>
                <a:gd name="connsiteX13-367" fmla="*/ 2176946 w 4228786"/>
                <a:gd name="connsiteY13-368" fmla="*/ 4110786 h 4110786"/>
                <a:gd name="connsiteX14-369" fmla="*/ 125105 w 4228786"/>
                <a:gd name="connsiteY14-370" fmla="*/ 2058946 h 4110786"/>
                <a:gd name="connsiteX15-371" fmla="*/ 437178 w 4228786"/>
                <a:gd name="connsiteY15-372" fmla="*/ 2058945 h 4110786"/>
                <a:gd name="connsiteX16-373" fmla="*/ 2176945 w 4228786"/>
                <a:gd name="connsiteY16-374" fmla="*/ 3798712 h 4110786"/>
                <a:gd name="connsiteX17-375" fmla="*/ 3916711 w 4228786"/>
                <a:gd name="connsiteY17-376" fmla="*/ 2058945 h 4110786"/>
                <a:gd name="connsiteX18-377" fmla="*/ 2269473 w 4228786"/>
                <a:gd name="connsiteY18-378" fmla="*/ 323850 h 4110786"/>
                <a:gd name="connsiteX19-379" fmla="*/ 2290461 w 4228786"/>
                <a:gd name="connsiteY19-380" fmla="*/ 323850 h 4110786"/>
                <a:gd name="connsiteX20-381" fmla="*/ 2295032 w 4228786"/>
                <a:gd name="connsiteY20-382" fmla="*/ 13068 h 4110786"/>
                <a:gd name="connsiteX21-383" fmla="*/ 2090436 w 4228786"/>
                <a:gd name="connsiteY21-384" fmla="*/ 11473 h 4110786"/>
                <a:gd name="connsiteX22-385" fmla="*/ 2090436 w 4228786"/>
                <a:gd name="connsiteY22-386" fmla="*/ 323546 h 4110786"/>
                <a:gd name="connsiteX23-387" fmla="*/ 739525 w 4228786"/>
                <a:gd name="connsiteY23-388" fmla="*/ 1079241 h 4110786"/>
                <a:gd name="connsiteX24-389" fmla="*/ 470434 w 4228786"/>
                <a:gd name="connsiteY24-390" fmla="*/ 920125 h 4110786"/>
                <a:gd name="connsiteX25-391" fmla="*/ 2090436 w 4228786"/>
                <a:gd name="connsiteY25-392" fmla="*/ 11473 h 4110786"/>
                <a:gd name="connsiteX26-393" fmla="*/ 2295224 w 4228786"/>
                <a:gd name="connsiteY26-394" fmla="*/ 0 h 4110786"/>
                <a:gd name="connsiteX27-395" fmla="*/ 2176946 w 4228786"/>
                <a:gd name="connsiteY27-396" fmla="*/ 7105 h 4110786"/>
                <a:gd name="connsiteX28-397" fmla="*/ 2090436 w 4228786"/>
                <a:gd name="connsiteY28-398" fmla="*/ 11473 h 4110786"/>
                <a:gd name="connsiteX29-399" fmla="*/ 2090436 w 4228786"/>
                <a:gd name="connsiteY29-400" fmla="*/ 2381 h 4110786"/>
                <a:gd name="connsiteX30-401" fmla="*/ 2295224 w 4228786"/>
                <a:gd name="connsiteY30-402" fmla="*/ 0 h 4110786"/>
                <a:gd name="connsiteX0-403" fmla="*/ 739525 w 4228949"/>
                <a:gd name="connsiteY0-404" fmla="*/ 1079241 h 4110786"/>
                <a:gd name="connsiteX1-405" fmla="*/ 742648 w 4228949"/>
                <a:gd name="connsiteY1-406" fmla="*/ 1081087 h 4110786"/>
                <a:gd name="connsiteX2-407" fmla="*/ 739525 w 4228949"/>
                <a:gd name="connsiteY2-408" fmla="*/ 1079241 h 4110786"/>
                <a:gd name="connsiteX3-409" fmla="*/ 468805 w 4228949"/>
                <a:gd name="connsiteY3-410" fmla="*/ 919162 h 4110786"/>
                <a:gd name="connsiteX4-411" fmla="*/ 470434 w 4228949"/>
                <a:gd name="connsiteY4-412" fmla="*/ 920125 h 4110786"/>
                <a:gd name="connsiteX5-413" fmla="*/ 468805 w 4228949"/>
                <a:gd name="connsiteY5-414" fmla="*/ 919162 h 4110786"/>
                <a:gd name="connsiteX6-415" fmla="*/ 2176945 w 4228949"/>
                <a:gd name="connsiteY6-416" fmla="*/ 319178 h 4110786"/>
                <a:gd name="connsiteX7-417" fmla="*/ 2269473 w 4228949"/>
                <a:gd name="connsiteY7-418" fmla="*/ 323850 h 4110786"/>
                <a:gd name="connsiteX8-419" fmla="*/ 2090436 w 4228949"/>
                <a:gd name="connsiteY8-420" fmla="*/ 323850 h 4110786"/>
                <a:gd name="connsiteX9-421" fmla="*/ 2090436 w 4228949"/>
                <a:gd name="connsiteY9-422" fmla="*/ 323546 h 4110786"/>
                <a:gd name="connsiteX10-423" fmla="*/ 2176945 w 4228949"/>
                <a:gd name="connsiteY10-424" fmla="*/ 319178 h 4110786"/>
                <a:gd name="connsiteX11-425" fmla="*/ 2290461 w 4228949"/>
                <a:gd name="connsiteY11-426" fmla="*/ 323850 h 4110786"/>
                <a:gd name="connsiteX12-427" fmla="*/ 4228786 w 4228949"/>
                <a:gd name="connsiteY12-428" fmla="*/ 2058946 h 4110786"/>
                <a:gd name="connsiteX13-429" fmla="*/ 2176946 w 4228949"/>
                <a:gd name="connsiteY13-430" fmla="*/ 4110786 h 4110786"/>
                <a:gd name="connsiteX14-431" fmla="*/ 125105 w 4228949"/>
                <a:gd name="connsiteY14-432" fmla="*/ 2058946 h 4110786"/>
                <a:gd name="connsiteX15-433" fmla="*/ 437178 w 4228949"/>
                <a:gd name="connsiteY15-434" fmla="*/ 2058945 h 4110786"/>
                <a:gd name="connsiteX16-435" fmla="*/ 2176945 w 4228949"/>
                <a:gd name="connsiteY16-436" fmla="*/ 3798712 h 4110786"/>
                <a:gd name="connsiteX17-437" fmla="*/ 3916711 w 4228949"/>
                <a:gd name="connsiteY17-438" fmla="*/ 2058945 h 4110786"/>
                <a:gd name="connsiteX18-439" fmla="*/ 2269473 w 4228949"/>
                <a:gd name="connsiteY18-440" fmla="*/ 323850 h 4110786"/>
                <a:gd name="connsiteX19-441" fmla="*/ 2290461 w 4228949"/>
                <a:gd name="connsiteY19-442" fmla="*/ 323850 h 4110786"/>
                <a:gd name="connsiteX20-443" fmla="*/ 2090436 w 4228949"/>
                <a:gd name="connsiteY20-444" fmla="*/ 11473 h 4110786"/>
                <a:gd name="connsiteX21-445" fmla="*/ 2090436 w 4228949"/>
                <a:gd name="connsiteY21-446" fmla="*/ 323546 h 4110786"/>
                <a:gd name="connsiteX22-447" fmla="*/ 739525 w 4228949"/>
                <a:gd name="connsiteY22-448" fmla="*/ 1079241 h 4110786"/>
                <a:gd name="connsiteX23-449" fmla="*/ 470434 w 4228949"/>
                <a:gd name="connsiteY23-450" fmla="*/ 920125 h 4110786"/>
                <a:gd name="connsiteX24-451" fmla="*/ 2090436 w 4228949"/>
                <a:gd name="connsiteY24-452" fmla="*/ 11473 h 4110786"/>
                <a:gd name="connsiteX25-453" fmla="*/ 2295224 w 4228949"/>
                <a:gd name="connsiteY25-454" fmla="*/ 0 h 4110786"/>
                <a:gd name="connsiteX26-455" fmla="*/ 2176946 w 4228949"/>
                <a:gd name="connsiteY26-456" fmla="*/ 7105 h 4110786"/>
                <a:gd name="connsiteX27-457" fmla="*/ 2090436 w 4228949"/>
                <a:gd name="connsiteY27-458" fmla="*/ 11473 h 4110786"/>
                <a:gd name="connsiteX28-459" fmla="*/ 2090436 w 4228949"/>
                <a:gd name="connsiteY28-460" fmla="*/ 2381 h 4110786"/>
                <a:gd name="connsiteX29-461" fmla="*/ 2295224 w 4228949"/>
                <a:gd name="connsiteY29-462" fmla="*/ 0 h 4110786"/>
                <a:gd name="connsiteX0-463" fmla="*/ 739525 w 4228949"/>
                <a:gd name="connsiteY0-464" fmla="*/ 1076860 h 4108405"/>
                <a:gd name="connsiteX1-465" fmla="*/ 742648 w 4228949"/>
                <a:gd name="connsiteY1-466" fmla="*/ 1078706 h 4108405"/>
                <a:gd name="connsiteX2-467" fmla="*/ 739525 w 4228949"/>
                <a:gd name="connsiteY2-468" fmla="*/ 1076860 h 4108405"/>
                <a:gd name="connsiteX3-469" fmla="*/ 468805 w 4228949"/>
                <a:gd name="connsiteY3-470" fmla="*/ 916781 h 4108405"/>
                <a:gd name="connsiteX4-471" fmla="*/ 470434 w 4228949"/>
                <a:gd name="connsiteY4-472" fmla="*/ 917744 h 4108405"/>
                <a:gd name="connsiteX5-473" fmla="*/ 468805 w 4228949"/>
                <a:gd name="connsiteY5-474" fmla="*/ 916781 h 4108405"/>
                <a:gd name="connsiteX6-475" fmla="*/ 2176945 w 4228949"/>
                <a:gd name="connsiteY6-476" fmla="*/ 316797 h 4108405"/>
                <a:gd name="connsiteX7-477" fmla="*/ 2269473 w 4228949"/>
                <a:gd name="connsiteY7-478" fmla="*/ 321469 h 4108405"/>
                <a:gd name="connsiteX8-479" fmla="*/ 2090436 w 4228949"/>
                <a:gd name="connsiteY8-480" fmla="*/ 321469 h 4108405"/>
                <a:gd name="connsiteX9-481" fmla="*/ 2090436 w 4228949"/>
                <a:gd name="connsiteY9-482" fmla="*/ 321165 h 4108405"/>
                <a:gd name="connsiteX10-483" fmla="*/ 2176945 w 4228949"/>
                <a:gd name="connsiteY10-484" fmla="*/ 316797 h 4108405"/>
                <a:gd name="connsiteX11-485" fmla="*/ 2290461 w 4228949"/>
                <a:gd name="connsiteY11-486" fmla="*/ 321469 h 4108405"/>
                <a:gd name="connsiteX12-487" fmla="*/ 4228786 w 4228949"/>
                <a:gd name="connsiteY12-488" fmla="*/ 2056565 h 4108405"/>
                <a:gd name="connsiteX13-489" fmla="*/ 2176946 w 4228949"/>
                <a:gd name="connsiteY13-490" fmla="*/ 4108405 h 4108405"/>
                <a:gd name="connsiteX14-491" fmla="*/ 125105 w 4228949"/>
                <a:gd name="connsiteY14-492" fmla="*/ 2056565 h 4108405"/>
                <a:gd name="connsiteX15-493" fmla="*/ 437178 w 4228949"/>
                <a:gd name="connsiteY15-494" fmla="*/ 2056564 h 4108405"/>
                <a:gd name="connsiteX16-495" fmla="*/ 2176945 w 4228949"/>
                <a:gd name="connsiteY16-496" fmla="*/ 3796331 h 4108405"/>
                <a:gd name="connsiteX17-497" fmla="*/ 3916711 w 4228949"/>
                <a:gd name="connsiteY17-498" fmla="*/ 2056564 h 4108405"/>
                <a:gd name="connsiteX18-499" fmla="*/ 2269473 w 4228949"/>
                <a:gd name="connsiteY18-500" fmla="*/ 321469 h 4108405"/>
                <a:gd name="connsiteX19-501" fmla="*/ 2290461 w 4228949"/>
                <a:gd name="connsiteY19-502" fmla="*/ 321469 h 4108405"/>
                <a:gd name="connsiteX20-503" fmla="*/ 2090436 w 4228949"/>
                <a:gd name="connsiteY20-504" fmla="*/ 9092 h 4108405"/>
                <a:gd name="connsiteX21-505" fmla="*/ 2090436 w 4228949"/>
                <a:gd name="connsiteY21-506" fmla="*/ 321165 h 4108405"/>
                <a:gd name="connsiteX22-507" fmla="*/ 739525 w 4228949"/>
                <a:gd name="connsiteY22-508" fmla="*/ 1076860 h 4108405"/>
                <a:gd name="connsiteX23-509" fmla="*/ 470434 w 4228949"/>
                <a:gd name="connsiteY23-510" fmla="*/ 917744 h 4108405"/>
                <a:gd name="connsiteX24-511" fmla="*/ 2090436 w 4228949"/>
                <a:gd name="connsiteY24-512" fmla="*/ 9092 h 4108405"/>
                <a:gd name="connsiteX25-513" fmla="*/ 2090436 w 4228949"/>
                <a:gd name="connsiteY25-514" fmla="*/ 0 h 4108405"/>
                <a:gd name="connsiteX26-515" fmla="*/ 2176946 w 4228949"/>
                <a:gd name="connsiteY26-516" fmla="*/ 4724 h 4108405"/>
                <a:gd name="connsiteX27-517" fmla="*/ 2090436 w 4228949"/>
                <a:gd name="connsiteY27-518" fmla="*/ 9092 h 4108405"/>
                <a:gd name="connsiteX28-519" fmla="*/ 2090436 w 4228949"/>
                <a:gd name="connsiteY28-520" fmla="*/ 0 h 4108405"/>
                <a:gd name="connsiteX0-521" fmla="*/ 739525 w 4228949"/>
                <a:gd name="connsiteY0-522" fmla="*/ 1076860 h 4108405"/>
                <a:gd name="connsiteX1-523" fmla="*/ 742648 w 4228949"/>
                <a:gd name="connsiteY1-524" fmla="*/ 1078706 h 4108405"/>
                <a:gd name="connsiteX2-525" fmla="*/ 739525 w 4228949"/>
                <a:gd name="connsiteY2-526" fmla="*/ 1076860 h 4108405"/>
                <a:gd name="connsiteX3-527" fmla="*/ 468805 w 4228949"/>
                <a:gd name="connsiteY3-528" fmla="*/ 916781 h 4108405"/>
                <a:gd name="connsiteX4-529" fmla="*/ 470434 w 4228949"/>
                <a:gd name="connsiteY4-530" fmla="*/ 917744 h 4108405"/>
                <a:gd name="connsiteX5-531" fmla="*/ 468805 w 4228949"/>
                <a:gd name="connsiteY5-532" fmla="*/ 916781 h 4108405"/>
                <a:gd name="connsiteX6-533" fmla="*/ 2176945 w 4228949"/>
                <a:gd name="connsiteY6-534" fmla="*/ 316797 h 4108405"/>
                <a:gd name="connsiteX7-535" fmla="*/ 2269473 w 4228949"/>
                <a:gd name="connsiteY7-536" fmla="*/ 321469 h 4108405"/>
                <a:gd name="connsiteX8-537" fmla="*/ 2090436 w 4228949"/>
                <a:gd name="connsiteY8-538" fmla="*/ 321469 h 4108405"/>
                <a:gd name="connsiteX9-539" fmla="*/ 2090436 w 4228949"/>
                <a:gd name="connsiteY9-540" fmla="*/ 321165 h 4108405"/>
                <a:gd name="connsiteX10-541" fmla="*/ 2176945 w 4228949"/>
                <a:gd name="connsiteY10-542" fmla="*/ 316797 h 4108405"/>
                <a:gd name="connsiteX11-543" fmla="*/ 2290461 w 4228949"/>
                <a:gd name="connsiteY11-544" fmla="*/ 321469 h 4108405"/>
                <a:gd name="connsiteX12-545" fmla="*/ 4228786 w 4228949"/>
                <a:gd name="connsiteY12-546" fmla="*/ 2056565 h 4108405"/>
                <a:gd name="connsiteX13-547" fmla="*/ 2176946 w 4228949"/>
                <a:gd name="connsiteY13-548" fmla="*/ 4108405 h 4108405"/>
                <a:gd name="connsiteX14-549" fmla="*/ 125105 w 4228949"/>
                <a:gd name="connsiteY14-550" fmla="*/ 2056565 h 4108405"/>
                <a:gd name="connsiteX15-551" fmla="*/ 437178 w 4228949"/>
                <a:gd name="connsiteY15-552" fmla="*/ 2056564 h 4108405"/>
                <a:gd name="connsiteX16-553" fmla="*/ 2176945 w 4228949"/>
                <a:gd name="connsiteY16-554" fmla="*/ 3796331 h 4108405"/>
                <a:gd name="connsiteX17-555" fmla="*/ 3916711 w 4228949"/>
                <a:gd name="connsiteY17-556" fmla="*/ 2056564 h 4108405"/>
                <a:gd name="connsiteX18-557" fmla="*/ 2269473 w 4228949"/>
                <a:gd name="connsiteY18-558" fmla="*/ 321469 h 4108405"/>
                <a:gd name="connsiteX19-559" fmla="*/ 2290461 w 4228949"/>
                <a:gd name="connsiteY19-560" fmla="*/ 321469 h 4108405"/>
                <a:gd name="connsiteX20-561" fmla="*/ 2090436 w 4228949"/>
                <a:gd name="connsiteY20-562" fmla="*/ 9092 h 4108405"/>
                <a:gd name="connsiteX21-563" fmla="*/ 2090436 w 4228949"/>
                <a:gd name="connsiteY21-564" fmla="*/ 321165 h 4108405"/>
                <a:gd name="connsiteX22-565" fmla="*/ 739525 w 4228949"/>
                <a:gd name="connsiteY22-566" fmla="*/ 1076860 h 4108405"/>
                <a:gd name="connsiteX23-567" fmla="*/ 470434 w 4228949"/>
                <a:gd name="connsiteY23-568" fmla="*/ 917744 h 4108405"/>
                <a:gd name="connsiteX24-569" fmla="*/ 2090436 w 4228949"/>
                <a:gd name="connsiteY24-570" fmla="*/ 9092 h 4108405"/>
                <a:gd name="connsiteX25-571" fmla="*/ 2090436 w 4228949"/>
                <a:gd name="connsiteY25-572" fmla="*/ 0 h 4108405"/>
                <a:gd name="connsiteX26-573" fmla="*/ 2090436 w 4228949"/>
                <a:gd name="connsiteY26-574" fmla="*/ 9092 h 4108405"/>
                <a:gd name="connsiteX27-575" fmla="*/ 2090436 w 4228949"/>
                <a:gd name="connsiteY27-576" fmla="*/ 0 h 4108405"/>
                <a:gd name="connsiteX0-577" fmla="*/ 739525 w 4228925"/>
                <a:gd name="connsiteY0-578" fmla="*/ 1076860 h 4108405"/>
                <a:gd name="connsiteX1-579" fmla="*/ 742648 w 4228925"/>
                <a:gd name="connsiteY1-580" fmla="*/ 1078706 h 4108405"/>
                <a:gd name="connsiteX2-581" fmla="*/ 739525 w 4228925"/>
                <a:gd name="connsiteY2-582" fmla="*/ 1076860 h 4108405"/>
                <a:gd name="connsiteX3-583" fmla="*/ 468805 w 4228925"/>
                <a:gd name="connsiteY3-584" fmla="*/ 916781 h 4108405"/>
                <a:gd name="connsiteX4-585" fmla="*/ 470434 w 4228925"/>
                <a:gd name="connsiteY4-586" fmla="*/ 917744 h 4108405"/>
                <a:gd name="connsiteX5-587" fmla="*/ 468805 w 4228925"/>
                <a:gd name="connsiteY5-588" fmla="*/ 916781 h 4108405"/>
                <a:gd name="connsiteX6-589" fmla="*/ 2176945 w 4228925"/>
                <a:gd name="connsiteY6-590" fmla="*/ 316797 h 4108405"/>
                <a:gd name="connsiteX7-591" fmla="*/ 2269473 w 4228925"/>
                <a:gd name="connsiteY7-592" fmla="*/ 321469 h 4108405"/>
                <a:gd name="connsiteX8-593" fmla="*/ 2090436 w 4228925"/>
                <a:gd name="connsiteY8-594" fmla="*/ 321469 h 4108405"/>
                <a:gd name="connsiteX9-595" fmla="*/ 2090436 w 4228925"/>
                <a:gd name="connsiteY9-596" fmla="*/ 321165 h 4108405"/>
                <a:gd name="connsiteX10-597" fmla="*/ 2176945 w 4228925"/>
                <a:gd name="connsiteY10-598" fmla="*/ 316797 h 4108405"/>
                <a:gd name="connsiteX11-599" fmla="*/ 2290461 w 4228925"/>
                <a:gd name="connsiteY11-600" fmla="*/ 321469 h 4108405"/>
                <a:gd name="connsiteX12-601" fmla="*/ 4228786 w 4228925"/>
                <a:gd name="connsiteY12-602" fmla="*/ 2056565 h 4108405"/>
                <a:gd name="connsiteX13-603" fmla="*/ 2176946 w 4228925"/>
                <a:gd name="connsiteY13-604" fmla="*/ 4108405 h 4108405"/>
                <a:gd name="connsiteX14-605" fmla="*/ 125105 w 4228925"/>
                <a:gd name="connsiteY14-606" fmla="*/ 2056565 h 4108405"/>
                <a:gd name="connsiteX15-607" fmla="*/ 437178 w 4228925"/>
                <a:gd name="connsiteY15-608" fmla="*/ 2056564 h 4108405"/>
                <a:gd name="connsiteX16-609" fmla="*/ 2176945 w 4228925"/>
                <a:gd name="connsiteY16-610" fmla="*/ 3796331 h 4108405"/>
                <a:gd name="connsiteX17-611" fmla="*/ 3916711 w 4228925"/>
                <a:gd name="connsiteY17-612" fmla="*/ 2056564 h 4108405"/>
                <a:gd name="connsiteX18-613" fmla="*/ 2290461 w 4228925"/>
                <a:gd name="connsiteY18-614" fmla="*/ 321469 h 4108405"/>
                <a:gd name="connsiteX19-615" fmla="*/ 2090436 w 4228925"/>
                <a:gd name="connsiteY19-616" fmla="*/ 9092 h 4108405"/>
                <a:gd name="connsiteX20-617" fmla="*/ 2090436 w 4228925"/>
                <a:gd name="connsiteY20-618" fmla="*/ 321165 h 4108405"/>
                <a:gd name="connsiteX21-619" fmla="*/ 739525 w 4228925"/>
                <a:gd name="connsiteY21-620" fmla="*/ 1076860 h 4108405"/>
                <a:gd name="connsiteX22-621" fmla="*/ 470434 w 4228925"/>
                <a:gd name="connsiteY22-622" fmla="*/ 917744 h 4108405"/>
                <a:gd name="connsiteX23-623" fmla="*/ 2090436 w 4228925"/>
                <a:gd name="connsiteY23-624" fmla="*/ 9092 h 4108405"/>
                <a:gd name="connsiteX24-625" fmla="*/ 2090436 w 4228925"/>
                <a:gd name="connsiteY24-626" fmla="*/ 0 h 4108405"/>
                <a:gd name="connsiteX25-627" fmla="*/ 2090436 w 4228925"/>
                <a:gd name="connsiteY25-628" fmla="*/ 9092 h 4108405"/>
                <a:gd name="connsiteX26-629" fmla="*/ 2090436 w 4228925"/>
                <a:gd name="connsiteY26-630" fmla="*/ 0 h 4108405"/>
                <a:gd name="connsiteX0-631" fmla="*/ 739525 w 4228925"/>
                <a:gd name="connsiteY0-632" fmla="*/ 1076860 h 4108405"/>
                <a:gd name="connsiteX1-633" fmla="*/ 742648 w 4228925"/>
                <a:gd name="connsiteY1-634" fmla="*/ 1078706 h 4108405"/>
                <a:gd name="connsiteX2-635" fmla="*/ 739525 w 4228925"/>
                <a:gd name="connsiteY2-636" fmla="*/ 1076860 h 4108405"/>
                <a:gd name="connsiteX3-637" fmla="*/ 468805 w 4228925"/>
                <a:gd name="connsiteY3-638" fmla="*/ 916781 h 4108405"/>
                <a:gd name="connsiteX4-639" fmla="*/ 470434 w 4228925"/>
                <a:gd name="connsiteY4-640" fmla="*/ 917744 h 4108405"/>
                <a:gd name="connsiteX5-641" fmla="*/ 468805 w 4228925"/>
                <a:gd name="connsiteY5-642" fmla="*/ 916781 h 4108405"/>
                <a:gd name="connsiteX6-643" fmla="*/ 2176945 w 4228925"/>
                <a:gd name="connsiteY6-644" fmla="*/ 316797 h 4108405"/>
                <a:gd name="connsiteX7-645" fmla="*/ 2090436 w 4228925"/>
                <a:gd name="connsiteY7-646" fmla="*/ 321469 h 4108405"/>
                <a:gd name="connsiteX8-647" fmla="*/ 2090436 w 4228925"/>
                <a:gd name="connsiteY8-648" fmla="*/ 321165 h 4108405"/>
                <a:gd name="connsiteX9-649" fmla="*/ 2176945 w 4228925"/>
                <a:gd name="connsiteY9-650" fmla="*/ 316797 h 4108405"/>
                <a:gd name="connsiteX10-651" fmla="*/ 2290461 w 4228925"/>
                <a:gd name="connsiteY10-652" fmla="*/ 321469 h 4108405"/>
                <a:gd name="connsiteX11-653" fmla="*/ 4228786 w 4228925"/>
                <a:gd name="connsiteY11-654" fmla="*/ 2056565 h 4108405"/>
                <a:gd name="connsiteX12-655" fmla="*/ 2176946 w 4228925"/>
                <a:gd name="connsiteY12-656" fmla="*/ 4108405 h 4108405"/>
                <a:gd name="connsiteX13-657" fmla="*/ 125105 w 4228925"/>
                <a:gd name="connsiteY13-658" fmla="*/ 2056565 h 4108405"/>
                <a:gd name="connsiteX14-659" fmla="*/ 437178 w 4228925"/>
                <a:gd name="connsiteY14-660" fmla="*/ 2056564 h 4108405"/>
                <a:gd name="connsiteX15-661" fmla="*/ 2176945 w 4228925"/>
                <a:gd name="connsiteY15-662" fmla="*/ 3796331 h 4108405"/>
                <a:gd name="connsiteX16-663" fmla="*/ 3916711 w 4228925"/>
                <a:gd name="connsiteY16-664" fmla="*/ 2056564 h 4108405"/>
                <a:gd name="connsiteX17-665" fmla="*/ 2290461 w 4228925"/>
                <a:gd name="connsiteY17-666" fmla="*/ 321469 h 4108405"/>
                <a:gd name="connsiteX18-667" fmla="*/ 2090436 w 4228925"/>
                <a:gd name="connsiteY18-668" fmla="*/ 9092 h 4108405"/>
                <a:gd name="connsiteX19-669" fmla="*/ 2090436 w 4228925"/>
                <a:gd name="connsiteY19-670" fmla="*/ 321165 h 4108405"/>
                <a:gd name="connsiteX20-671" fmla="*/ 739525 w 4228925"/>
                <a:gd name="connsiteY20-672" fmla="*/ 1076860 h 4108405"/>
                <a:gd name="connsiteX21-673" fmla="*/ 470434 w 4228925"/>
                <a:gd name="connsiteY21-674" fmla="*/ 917744 h 4108405"/>
                <a:gd name="connsiteX22-675" fmla="*/ 2090436 w 4228925"/>
                <a:gd name="connsiteY22-676" fmla="*/ 9092 h 4108405"/>
                <a:gd name="connsiteX23-677" fmla="*/ 2090436 w 4228925"/>
                <a:gd name="connsiteY23-678" fmla="*/ 0 h 4108405"/>
                <a:gd name="connsiteX24-679" fmla="*/ 2090436 w 4228925"/>
                <a:gd name="connsiteY24-680" fmla="*/ 9092 h 4108405"/>
                <a:gd name="connsiteX25-681" fmla="*/ 2090436 w 4228925"/>
                <a:gd name="connsiteY25-682" fmla="*/ 0 h 4108405"/>
                <a:gd name="connsiteX0-683" fmla="*/ 739525 w 4228925"/>
                <a:gd name="connsiteY0-684" fmla="*/ 1076860 h 4108405"/>
                <a:gd name="connsiteX1-685" fmla="*/ 742648 w 4228925"/>
                <a:gd name="connsiteY1-686" fmla="*/ 1078706 h 4108405"/>
                <a:gd name="connsiteX2-687" fmla="*/ 739525 w 4228925"/>
                <a:gd name="connsiteY2-688" fmla="*/ 1076860 h 4108405"/>
                <a:gd name="connsiteX3-689" fmla="*/ 468805 w 4228925"/>
                <a:gd name="connsiteY3-690" fmla="*/ 916781 h 4108405"/>
                <a:gd name="connsiteX4-691" fmla="*/ 470434 w 4228925"/>
                <a:gd name="connsiteY4-692" fmla="*/ 917744 h 4108405"/>
                <a:gd name="connsiteX5-693" fmla="*/ 468805 w 4228925"/>
                <a:gd name="connsiteY5-694" fmla="*/ 916781 h 4108405"/>
                <a:gd name="connsiteX6-695" fmla="*/ 2090436 w 4228925"/>
                <a:gd name="connsiteY6-696" fmla="*/ 321165 h 4108405"/>
                <a:gd name="connsiteX7-697" fmla="*/ 2090436 w 4228925"/>
                <a:gd name="connsiteY7-698" fmla="*/ 321469 h 4108405"/>
                <a:gd name="connsiteX8-699" fmla="*/ 2090436 w 4228925"/>
                <a:gd name="connsiteY8-700" fmla="*/ 321165 h 4108405"/>
                <a:gd name="connsiteX9-701" fmla="*/ 2290461 w 4228925"/>
                <a:gd name="connsiteY9-702" fmla="*/ 321469 h 4108405"/>
                <a:gd name="connsiteX10-703" fmla="*/ 4228786 w 4228925"/>
                <a:gd name="connsiteY10-704" fmla="*/ 2056565 h 4108405"/>
                <a:gd name="connsiteX11-705" fmla="*/ 2176946 w 4228925"/>
                <a:gd name="connsiteY11-706" fmla="*/ 4108405 h 4108405"/>
                <a:gd name="connsiteX12-707" fmla="*/ 125105 w 4228925"/>
                <a:gd name="connsiteY12-708" fmla="*/ 2056565 h 4108405"/>
                <a:gd name="connsiteX13-709" fmla="*/ 437178 w 4228925"/>
                <a:gd name="connsiteY13-710" fmla="*/ 2056564 h 4108405"/>
                <a:gd name="connsiteX14-711" fmla="*/ 2176945 w 4228925"/>
                <a:gd name="connsiteY14-712" fmla="*/ 3796331 h 4108405"/>
                <a:gd name="connsiteX15-713" fmla="*/ 3916711 w 4228925"/>
                <a:gd name="connsiteY15-714" fmla="*/ 2056564 h 4108405"/>
                <a:gd name="connsiteX16-715" fmla="*/ 2290461 w 4228925"/>
                <a:gd name="connsiteY16-716" fmla="*/ 321469 h 4108405"/>
                <a:gd name="connsiteX17-717" fmla="*/ 2090436 w 4228925"/>
                <a:gd name="connsiteY17-718" fmla="*/ 9092 h 4108405"/>
                <a:gd name="connsiteX18-719" fmla="*/ 2090436 w 4228925"/>
                <a:gd name="connsiteY18-720" fmla="*/ 321165 h 4108405"/>
                <a:gd name="connsiteX19-721" fmla="*/ 739525 w 4228925"/>
                <a:gd name="connsiteY19-722" fmla="*/ 1076860 h 4108405"/>
                <a:gd name="connsiteX20-723" fmla="*/ 470434 w 4228925"/>
                <a:gd name="connsiteY20-724" fmla="*/ 917744 h 4108405"/>
                <a:gd name="connsiteX21-725" fmla="*/ 2090436 w 4228925"/>
                <a:gd name="connsiteY21-726" fmla="*/ 9092 h 4108405"/>
                <a:gd name="connsiteX22-727" fmla="*/ 2090436 w 4228925"/>
                <a:gd name="connsiteY22-728" fmla="*/ 0 h 4108405"/>
                <a:gd name="connsiteX23-729" fmla="*/ 2090436 w 4228925"/>
                <a:gd name="connsiteY23-730" fmla="*/ 9092 h 4108405"/>
                <a:gd name="connsiteX24-731" fmla="*/ 2090436 w 4228925"/>
                <a:gd name="connsiteY24-732" fmla="*/ 0 h 4108405"/>
                <a:gd name="connsiteX0-733" fmla="*/ 739525 w 4228925"/>
                <a:gd name="connsiteY0-734" fmla="*/ 1067768 h 4099313"/>
                <a:gd name="connsiteX1-735" fmla="*/ 742648 w 4228925"/>
                <a:gd name="connsiteY1-736" fmla="*/ 1069614 h 4099313"/>
                <a:gd name="connsiteX2-737" fmla="*/ 739525 w 4228925"/>
                <a:gd name="connsiteY2-738" fmla="*/ 1067768 h 4099313"/>
                <a:gd name="connsiteX3-739" fmla="*/ 468805 w 4228925"/>
                <a:gd name="connsiteY3-740" fmla="*/ 907689 h 4099313"/>
                <a:gd name="connsiteX4-741" fmla="*/ 470434 w 4228925"/>
                <a:gd name="connsiteY4-742" fmla="*/ 908652 h 4099313"/>
                <a:gd name="connsiteX5-743" fmla="*/ 468805 w 4228925"/>
                <a:gd name="connsiteY5-744" fmla="*/ 907689 h 4099313"/>
                <a:gd name="connsiteX6-745" fmla="*/ 2090436 w 4228925"/>
                <a:gd name="connsiteY6-746" fmla="*/ 312073 h 4099313"/>
                <a:gd name="connsiteX7-747" fmla="*/ 2090436 w 4228925"/>
                <a:gd name="connsiteY7-748" fmla="*/ 312377 h 4099313"/>
                <a:gd name="connsiteX8-749" fmla="*/ 2090436 w 4228925"/>
                <a:gd name="connsiteY8-750" fmla="*/ 312073 h 4099313"/>
                <a:gd name="connsiteX9-751" fmla="*/ 2290461 w 4228925"/>
                <a:gd name="connsiteY9-752" fmla="*/ 312377 h 4099313"/>
                <a:gd name="connsiteX10-753" fmla="*/ 4228786 w 4228925"/>
                <a:gd name="connsiteY10-754" fmla="*/ 2047473 h 4099313"/>
                <a:gd name="connsiteX11-755" fmla="*/ 2176946 w 4228925"/>
                <a:gd name="connsiteY11-756" fmla="*/ 4099313 h 4099313"/>
                <a:gd name="connsiteX12-757" fmla="*/ 125105 w 4228925"/>
                <a:gd name="connsiteY12-758" fmla="*/ 2047473 h 4099313"/>
                <a:gd name="connsiteX13-759" fmla="*/ 437178 w 4228925"/>
                <a:gd name="connsiteY13-760" fmla="*/ 2047472 h 4099313"/>
                <a:gd name="connsiteX14-761" fmla="*/ 2176945 w 4228925"/>
                <a:gd name="connsiteY14-762" fmla="*/ 3787239 h 4099313"/>
                <a:gd name="connsiteX15-763" fmla="*/ 3916711 w 4228925"/>
                <a:gd name="connsiteY15-764" fmla="*/ 2047472 h 4099313"/>
                <a:gd name="connsiteX16-765" fmla="*/ 2290461 w 4228925"/>
                <a:gd name="connsiteY16-766" fmla="*/ 312377 h 4099313"/>
                <a:gd name="connsiteX17-767" fmla="*/ 2090436 w 4228925"/>
                <a:gd name="connsiteY17-768" fmla="*/ 0 h 4099313"/>
                <a:gd name="connsiteX18-769" fmla="*/ 2090436 w 4228925"/>
                <a:gd name="connsiteY18-770" fmla="*/ 312073 h 4099313"/>
                <a:gd name="connsiteX19-771" fmla="*/ 739525 w 4228925"/>
                <a:gd name="connsiteY19-772" fmla="*/ 1067768 h 4099313"/>
                <a:gd name="connsiteX20-773" fmla="*/ 470434 w 4228925"/>
                <a:gd name="connsiteY20-774" fmla="*/ 908652 h 4099313"/>
                <a:gd name="connsiteX21-775" fmla="*/ 2090436 w 4228925"/>
                <a:gd name="connsiteY21-776" fmla="*/ 0 h 4099313"/>
                <a:gd name="connsiteX0-777" fmla="*/ 739525 w 4353891"/>
                <a:gd name="connsiteY0-778" fmla="*/ 1067768 h 4099313"/>
                <a:gd name="connsiteX1-779" fmla="*/ 742648 w 4353891"/>
                <a:gd name="connsiteY1-780" fmla="*/ 1069614 h 4099313"/>
                <a:gd name="connsiteX2-781" fmla="*/ 739525 w 4353891"/>
                <a:gd name="connsiteY2-782" fmla="*/ 1067768 h 4099313"/>
                <a:gd name="connsiteX3-783" fmla="*/ 468805 w 4353891"/>
                <a:gd name="connsiteY3-784" fmla="*/ 907689 h 4099313"/>
                <a:gd name="connsiteX4-785" fmla="*/ 470434 w 4353891"/>
                <a:gd name="connsiteY4-786" fmla="*/ 908652 h 4099313"/>
                <a:gd name="connsiteX5-787" fmla="*/ 468805 w 4353891"/>
                <a:gd name="connsiteY5-788" fmla="*/ 907689 h 4099313"/>
                <a:gd name="connsiteX6-789" fmla="*/ 2090436 w 4353891"/>
                <a:gd name="connsiteY6-790" fmla="*/ 312073 h 4099313"/>
                <a:gd name="connsiteX7-791" fmla="*/ 2090436 w 4353891"/>
                <a:gd name="connsiteY7-792" fmla="*/ 312377 h 4099313"/>
                <a:gd name="connsiteX8-793" fmla="*/ 2090436 w 4353891"/>
                <a:gd name="connsiteY8-794" fmla="*/ 312073 h 4099313"/>
                <a:gd name="connsiteX9-795" fmla="*/ 3916711 w 4353891"/>
                <a:gd name="connsiteY9-796" fmla="*/ 2047472 h 4099313"/>
                <a:gd name="connsiteX10-797" fmla="*/ 4228786 w 4353891"/>
                <a:gd name="connsiteY10-798" fmla="*/ 2047473 h 4099313"/>
                <a:gd name="connsiteX11-799" fmla="*/ 2176946 w 4353891"/>
                <a:gd name="connsiteY11-800" fmla="*/ 4099313 h 4099313"/>
                <a:gd name="connsiteX12-801" fmla="*/ 125105 w 4353891"/>
                <a:gd name="connsiteY12-802" fmla="*/ 2047473 h 4099313"/>
                <a:gd name="connsiteX13-803" fmla="*/ 437178 w 4353891"/>
                <a:gd name="connsiteY13-804" fmla="*/ 2047472 h 4099313"/>
                <a:gd name="connsiteX14-805" fmla="*/ 2176945 w 4353891"/>
                <a:gd name="connsiteY14-806" fmla="*/ 3787239 h 4099313"/>
                <a:gd name="connsiteX15-807" fmla="*/ 3916711 w 4353891"/>
                <a:gd name="connsiteY15-808" fmla="*/ 2047472 h 4099313"/>
                <a:gd name="connsiteX16-809" fmla="*/ 2090436 w 4353891"/>
                <a:gd name="connsiteY16-810" fmla="*/ 0 h 4099313"/>
                <a:gd name="connsiteX17-811" fmla="*/ 2090436 w 4353891"/>
                <a:gd name="connsiteY17-812" fmla="*/ 312073 h 4099313"/>
                <a:gd name="connsiteX18-813" fmla="*/ 739525 w 4353891"/>
                <a:gd name="connsiteY18-814" fmla="*/ 1067768 h 4099313"/>
                <a:gd name="connsiteX19-815" fmla="*/ 470434 w 4353891"/>
                <a:gd name="connsiteY19-816" fmla="*/ 908652 h 4099313"/>
                <a:gd name="connsiteX20-817" fmla="*/ 2090436 w 4353891"/>
                <a:gd name="connsiteY20-818" fmla="*/ 0 h 4099313"/>
                <a:gd name="connsiteX0-819" fmla="*/ 614420 w 4228786"/>
                <a:gd name="connsiteY0-820" fmla="*/ 1067768 h 4099313"/>
                <a:gd name="connsiteX1-821" fmla="*/ 617543 w 4228786"/>
                <a:gd name="connsiteY1-822" fmla="*/ 1069614 h 4099313"/>
                <a:gd name="connsiteX2-823" fmla="*/ 614420 w 4228786"/>
                <a:gd name="connsiteY2-824" fmla="*/ 1067768 h 4099313"/>
                <a:gd name="connsiteX3-825" fmla="*/ 343700 w 4228786"/>
                <a:gd name="connsiteY3-826" fmla="*/ 907689 h 4099313"/>
                <a:gd name="connsiteX4-827" fmla="*/ 345329 w 4228786"/>
                <a:gd name="connsiteY4-828" fmla="*/ 908652 h 4099313"/>
                <a:gd name="connsiteX5-829" fmla="*/ 343700 w 4228786"/>
                <a:gd name="connsiteY5-830" fmla="*/ 907689 h 4099313"/>
                <a:gd name="connsiteX6-831" fmla="*/ 1965331 w 4228786"/>
                <a:gd name="connsiteY6-832" fmla="*/ 312073 h 4099313"/>
                <a:gd name="connsiteX7-833" fmla="*/ 1965331 w 4228786"/>
                <a:gd name="connsiteY7-834" fmla="*/ 312377 h 4099313"/>
                <a:gd name="connsiteX8-835" fmla="*/ 1965331 w 4228786"/>
                <a:gd name="connsiteY8-836" fmla="*/ 312073 h 4099313"/>
                <a:gd name="connsiteX9-837" fmla="*/ 3791606 w 4228786"/>
                <a:gd name="connsiteY9-838" fmla="*/ 2047472 h 4099313"/>
                <a:gd name="connsiteX10-839" fmla="*/ 4103681 w 4228786"/>
                <a:gd name="connsiteY10-840" fmla="*/ 2047473 h 4099313"/>
                <a:gd name="connsiteX11-841" fmla="*/ 2051841 w 4228786"/>
                <a:gd name="connsiteY11-842" fmla="*/ 4099313 h 4099313"/>
                <a:gd name="connsiteX12-843" fmla="*/ 0 w 4228786"/>
                <a:gd name="connsiteY12-844" fmla="*/ 2047473 h 4099313"/>
                <a:gd name="connsiteX13-845" fmla="*/ 2051840 w 4228786"/>
                <a:gd name="connsiteY13-846" fmla="*/ 3787239 h 4099313"/>
                <a:gd name="connsiteX14-847" fmla="*/ 3791606 w 4228786"/>
                <a:gd name="connsiteY14-848" fmla="*/ 2047472 h 4099313"/>
                <a:gd name="connsiteX15-849" fmla="*/ 1965331 w 4228786"/>
                <a:gd name="connsiteY15-850" fmla="*/ 0 h 4099313"/>
                <a:gd name="connsiteX16-851" fmla="*/ 1965331 w 4228786"/>
                <a:gd name="connsiteY16-852" fmla="*/ 312073 h 4099313"/>
                <a:gd name="connsiteX17-853" fmla="*/ 614420 w 4228786"/>
                <a:gd name="connsiteY17-854" fmla="*/ 1067768 h 4099313"/>
                <a:gd name="connsiteX18-855" fmla="*/ 345329 w 4228786"/>
                <a:gd name="connsiteY18-856" fmla="*/ 908652 h 4099313"/>
                <a:gd name="connsiteX19-857" fmla="*/ 1965331 w 4228786"/>
                <a:gd name="connsiteY19-858" fmla="*/ 0 h 4099313"/>
                <a:gd name="connsiteX0-859" fmla="*/ 270720 w 3885086"/>
                <a:gd name="connsiteY0-860" fmla="*/ 1067768 h 4224418"/>
                <a:gd name="connsiteX1-861" fmla="*/ 273843 w 3885086"/>
                <a:gd name="connsiteY1-862" fmla="*/ 1069614 h 4224418"/>
                <a:gd name="connsiteX2-863" fmla="*/ 270720 w 3885086"/>
                <a:gd name="connsiteY2-864" fmla="*/ 1067768 h 4224418"/>
                <a:gd name="connsiteX3-865" fmla="*/ 0 w 3885086"/>
                <a:gd name="connsiteY3-866" fmla="*/ 907689 h 4224418"/>
                <a:gd name="connsiteX4-867" fmla="*/ 1629 w 3885086"/>
                <a:gd name="connsiteY4-868" fmla="*/ 908652 h 4224418"/>
                <a:gd name="connsiteX5-869" fmla="*/ 0 w 3885086"/>
                <a:gd name="connsiteY5-870" fmla="*/ 907689 h 4224418"/>
                <a:gd name="connsiteX6-871" fmla="*/ 1621631 w 3885086"/>
                <a:gd name="connsiteY6-872" fmla="*/ 312073 h 4224418"/>
                <a:gd name="connsiteX7-873" fmla="*/ 1621631 w 3885086"/>
                <a:gd name="connsiteY7-874" fmla="*/ 312377 h 4224418"/>
                <a:gd name="connsiteX8-875" fmla="*/ 1621631 w 3885086"/>
                <a:gd name="connsiteY8-876" fmla="*/ 312073 h 4224418"/>
                <a:gd name="connsiteX9-877" fmla="*/ 3447906 w 3885086"/>
                <a:gd name="connsiteY9-878" fmla="*/ 2047472 h 4224418"/>
                <a:gd name="connsiteX10-879" fmla="*/ 3759981 w 3885086"/>
                <a:gd name="connsiteY10-880" fmla="*/ 2047473 h 4224418"/>
                <a:gd name="connsiteX11-881" fmla="*/ 1708141 w 3885086"/>
                <a:gd name="connsiteY11-882" fmla="*/ 4099313 h 4224418"/>
                <a:gd name="connsiteX12-883" fmla="*/ 1708140 w 3885086"/>
                <a:gd name="connsiteY12-884" fmla="*/ 3787239 h 4224418"/>
                <a:gd name="connsiteX13-885" fmla="*/ 3447906 w 3885086"/>
                <a:gd name="connsiteY13-886" fmla="*/ 2047472 h 4224418"/>
                <a:gd name="connsiteX14-887" fmla="*/ 1621631 w 3885086"/>
                <a:gd name="connsiteY14-888" fmla="*/ 0 h 4224418"/>
                <a:gd name="connsiteX15-889" fmla="*/ 1621631 w 3885086"/>
                <a:gd name="connsiteY15-890" fmla="*/ 312073 h 4224418"/>
                <a:gd name="connsiteX16-891" fmla="*/ 270720 w 3885086"/>
                <a:gd name="connsiteY16-892" fmla="*/ 1067768 h 4224418"/>
                <a:gd name="connsiteX17-893" fmla="*/ 1629 w 3885086"/>
                <a:gd name="connsiteY17-894" fmla="*/ 908652 h 4224418"/>
                <a:gd name="connsiteX18-895" fmla="*/ 1621631 w 3885086"/>
                <a:gd name="connsiteY18-896" fmla="*/ 0 h 4224418"/>
                <a:gd name="connsiteX0-897" fmla="*/ 270720 w 3885086"/>
                <a:gd name="connsiteY0-898" fmla="*/ 1067768 h 4099313"/>
                <a:gd name="connsiteX1-899" fmla="*/ 273843 w 3885086"/>
                <a:gd name="connsiteY1-900" fmla="*/ 1069614 h 4099313"/>
                <a:gd name="connsiteX2-901" fmla="*/ 270720 w 3885086"/>
                <a:gd name="connsiteY2-902" fmla="*/ 1067768 h 4099313"/>
                <a:gd name="connsiteX3-903" fmla="*/ 0 w 3885086"/>
                <a:gd name="connsiteY3-904" fmla="*/ 907689 h 4099313"/>
                <a:gd name="connsiteX4-905" fmla="*/ 1629 w 3885086"/>
                <a:gd name="connsiteY4-906" fmla="*/ 908652 h 4099313"/>
                <a:gd name="connsiteX5-907" fmla="*/ 0 w 3885086"/>
                <a:gd name="connsiteY5-908" fmla="*/ 907689 h 4099313"/>
                <a:gd name="connsiteX6-909" fmla="*/ 1621631 w 3885086"/>
                <a:gd name="connsiteY6-910" fmla="*/ 312073 h 4099313"/>
                <a:gd name="connsiteX7-911" fmla="*/ 1621631 w 3885086"/>
                <a:gd name="connsiteY7-912" fmla="*/ 312377 h 4099313"/>
                <a:gd name="connsiteX8-913" fmla="*/ 1621631 w 3885086"/>
                <a:gd name="connsiteY8-914" fmla="*/ 312073 h 4099313"/>
                <a:gd name="connsiteX9-915" fmla="*/ 3447906 w 3885086"/>
                <a:gd name="connsiteY9-916" fmla="*/ 2047472 h 4099313"/>
                <a:gd name="connsiteX10-917" fmla="*/ 3759981 w 3885086"/>
                <a:gd name="connsiteY10-918" fmla="*/ 2047473 h 4099313"/>
                <a:gd name="connsiteX11-919" fmla="*/ 1708141 w 3885086"/>
                <a:gd name="connsiteY11-920" fmla="*/ 4099313 h 4099313"/>
                <a:gd name="connsiteX12-921" fmla="*/ 3447906 w 3885086"/>
                <a:gd name="connsiteY12-922" fmla="*/ 2047472 h 4099313"/>
                <a:gd name="connsiteX13-923" fmla="*/ 1621631 w 3885086"/>
                <a:gd name="connsiteY13-924" fmla="*/ 0 h 4099313"/>
                <a:gd name="connsiteX14-925" fmla="*/ 1621631 w 3885086"/>
                <a:gd name="connsiteY14-926" fmla="*/ 312073 h 4099313"/>
                <a:gd name="connsiteX15-927" fmla="*/ 270720 w 3885086"/>
                <a:gd name="connsiteY15-928" fmla="*/ 1067768 h 4099313"/>
                <a:gd name="connsiteX16-929" fmla="*/ 1629 w 3885086"/>
                <a:gd name="connsiteY16-930" fmla="*/ 908652 h 4099313"/>
                <a:gd name="connsiteX17-931" fmla="*/ 1621631 w 3885086"/>
                <a:gd name="connsiteY17-932" fmla="*/ 0 h 4099313"/>
                <a:gd name="connsiteX0-933" fmla="*/ 270720 w 3760643"/>
                <a:gd name="connsiteY0-934" fmla="*/ 1067768 h 2047473"/>
                <a:gd name="connsiteX1-935" fmla="*/ 273843 w 3760643"/>
                <a:gd name="connsiteY1-936" fmla="*/ 1069614 h 2047473"/>
                <a:gd name="connsiteX2-937" fmla="*/ 270720 w 3760643"/>
                <a:gd name="connsiteY2-938" fmla="*/ 1067768 h 2047473"/>
                <a:gd name="connsiteX3-939" fmla="*/ 0 w 3760643"/>
                <a:gd name="connsiteY3-940" fmla="*/ 907689 h 2047473"/>
                <a:gd name="connsiteX4-941" fmla="*/ 1629 w 3760643"/>
                <a:gd name="connsiteY4-942" fmla="*/ 908652 h 2047473"/>
                <a:gd name="connsiteX5-943" fmla="*/ 0 w 3760643"/>
                <a:gd name="connsiteY5-944" fmla="*/ 907689 h 2047473"/>
                <a:gd name="connsiteX6-945" fmla="*/ 1621631 w 3760643"/>
                <a:gd name="connsiteY6-946" fmla="*/ 312073 h 2047473"/>
                <a:gd name="connsiteX7-947" fmla="*/ 1621631 w 3760643"/>
                <a:gd name="connsiteY7-948" fmla="*/ 312377 h 2047473"/>
                <a:gd name="connsiteX8-949" fmla="*/ 1621631 w 3760643"/>
                <a:gd name="connsiteY8-950" fmla="*/ 312073 h 2047473"/>
                <a:gd name="connsiteX9-951" fmla="*/ 3447906 w 3760643"/>
                <a:gd name="connsiteY9-952" fmla="*/ 2047472 h 2047473"/>
                <a:gd name="connsiteX10-953" fmla="*/ 3759981 w 3760643"/>
                <a:gd name="connsiteY10-954" fmla="*/ 2047473 h 2047473"/>
                <a:gd name="connsiteX11-955" fmla="*/ 3447906 w 3760643"/>
                <a:gd name="connsiteY11-956" fmla="*/ 2047472 h 2047473"/>
                <a:gd name="connsiteX12-957" fmla="*/ 1621631 w 3760643"/>
                <a:gd name="connsiteY12-958" fmla="*/ 0 h 2047473"/>
                <a:gd name="connsiteX13-959" fmla="*/ 1621631 w 3760643"/>
                <a:gd name="connsiteY13-960" fmla="*/ 312073 h 2047473"/>
                <a:gd name="connsiteX14-961" fmla="*/ 270720 w 3760643"/>
                <a:gd name="connsiteY14-962" fmla="*/ 1067768 h 2047473"/>
                <a:gd name="connsiteX15-963" fmla="*/ 1629 w 3760643"/>
                <a:gd name="connsiteY15-964" fmla="*/ 908652 h 2047473"/>
                <a:gd name="connsiteX16-965" fmla="*/ 1621631 w 3760643"/>
                <a:gd name="connsiteY16-966" fmla="*/ 0 h 2047473"/>
                <a:gd name="connsiteX0-967" fmla="*/ 270720 w 1621631"/>
                <a:gd name="connsiteY0-968" fmla="*/ 1067768 h 1069614"/>
                <a:gd name="connsiteX1-969" fmla="*/ 273843 w 1621631"/>
                <a:gd name="connsiteY1-970" fmla="*/ 1069614 h 1069614"/>
                <a:gd name="connsiteX2-971" fmla="*/ 270720 w 1621631"/>
                <a:gd name="connsiteY2-972" fmla="*/ 1067768 h 1069614"/>
                <a:gd name="connsiteX3-973" fmla="*/ 0 w 1621631"/>
                <a:gd name="connsiteY3-974" fmla="*/ 907689 h 1069614"/>
                <a:gd name="connsiteX4-975" fmla="*/ 1629 w 1621631"/>
                <a:gd name="connsiteY4-976" fmla="*/ 908652 h 1069614"/>
                <a:gd name="connsiteX5-977" fmla="*/ 0 w 1621631"/>
                <a:gd name="connsiteY5-978" fmla="*/ 907689 h 1069614"/>
                <a:gd name="connsiteX6-979" fmla="*/ 1621631 w 1621631"/>
                <a:gd name="connsiteY6-980" fmla="*/ 312073 h 1069614"/>
                <a:gd name="connsiteX7-981" fmla="*/ 1621631 w 1621631"/>
                <a:gd name="connsiteY7-982" fmla="*/ 312377 h 1069614"/>
                <a:gd name="connsiteX8-983" fmla="*/ 1621631 w 1621631"/>
                <a:gd name="connsiteY8-984" fmla="*/ 312073 h 1069614"/>
                <a:gd name="connsiteX9-985" fmla="*/ 1621631 w 1621631"/>
                <a:gd name="connsiteY9-986" fmla="*/ 0 h 1069614"/>
                <a:gd name="connsiteX10-987" fmla="*/ 1621631 w 1621631"/>
                <a:gd name="connsiteY10-988" fmla="*/ 312073 h 1069614"/>
                <a:gd name="connsiteX11-989" fmla="*/ 270720 w 1621631"/>
                <a:gd name="connsiteY11-990" fmla="*/ 1067768 h 1069614"/>
                <a:gd name="connsiteX12-991" fmla="*/ 1629 w 1621631"/>
                <a:gd name="connsiteY12-992" fmla="*/ 908652 h 1069614"/>
                <a:gd name="connsiteX13-993" fmla="*/ 1621631 w 1621631"/>
                <a:gd name="connsiteY13-994" fmla="*/ 0 h 1069614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11" y="connsiteY5-12"/>
                </a:cxn>
                <a:cxn ang="0">
                  <a:pos x="connsiteX6-13" y="connsiteY6-14"/>
                </a:cxn>
                <a:cxn ang="0">
                  <a:pos x="connsiteX7-15" y="connsiteY7-16"/>
                </a:cxn>
                <a:cxn ang="0">
                  <a:pos x="connsiteX8-17" y="connsiteY8-18"/>
                </a:cxn>
                <a:cxn ang="0">
                  <a:pos x="connsiteX9-19" y="connsiteY9-20"/>
                </a:cxn>
                <a:cxn ang="0">
                  <a:pos x="connsiteX10-21" y="connsiteY10-22"/>
                </a:cxn>
                <a:cxn ang="0">
                  <a:pos x="connsiteX11-23" y="connsiteY11-24"/>
                </a:cxn>
                <a:cxn ang="0">
                  <a:pos x="connsiteX12-25" y="connsiteY12-26"/>
                </a:cxn>
                <a:cxn ang="0">
                  <a:pos x="connsiteX13-27" y="connsiteY13-28"/>
                </a:cxn>
              </a:cxnLst>
              <a:rect l="l" t="t" r="r" b="b"/>
              <a:pathLst>
                <a:path w="1621631" h="1069614">
                  <a:moveTo>
                    <a:pt x="270720" y="1067768"/>
                  </a:moveTo>
                  <a:lnTo>
                    <a:pt x="273843" y="1069614"/>
                  </a:lnTo>
                  <a:lnTo>
                    <a:pt x="270720" y="1067768"/>
                  </a:lnTo>
                  <a:close/>
                  <a:moveTo>
                    <a:pt x="0" y="907689"/>
                  </a:moveTo>
                  <a:lnTo>
                    <a:pt x="1629" y="908652"/>
                  </a:lnTo>
                  <a:lnTo>
                    <a:pt x="0" y="907689"/>
                  </a:lnTo>
                  <a:close/>
                  <a:moveTo>
                    <a:pt x="1621631" y="312073"/>
                  </a:moveTo>
                  <a:lnTo>
                    <a:pt x="1621631" y="312377"/>
                  </a:lnTo>
                  <a:lnTo>
                    <a:pt x="1621631" y="312073"/>
                  </a:lnTo>
                  <a:close/>
                  <a:moveTo>
                    <a:pt x="1621631" y="0"/>
                  </a:moveTo>
                  <a:lnTo>
                    <a:pt x="1621631" y="312073"/>
                  </a:lnTo>
                  <a:cubicBezTo>
                    <a:pt x="1059988" y="337356"/>
                    <a:pt x="568425" y="631117"/>
                    <a:pt x="270720" y="1067768"/>
                  </a:cubicBezTo>
                  <a:lnTo>
                    <a:pt x="1629" y="908652"/>
                  </a:lnTo>
                  <a:cubicBezTo>
                    <a:pt x="354259" y="380480"/>
                    <a:pt x="945677" y="25494"/>
                    <a:pt x="1621631" y="0"/>
                  </a:cubicBezTo>
                  <a:close/>
                </a:path>
              </a:pathLst>
            </a:custGeom>
            <a:solidFill>
              <a:srgbClr val="ADACC8"/>
            </a:solidFill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<a:noAutofit/>
            </a:bodyPr>
            <a:lstStyle/>
            <a:p>
              <a:pPr algn="ctr" defTabSz="698500" fontAlgn="base">
                <a:spcBef>
                  <a:spcPct val="0"/>
                </a:spcBef>
                <a:spcAft>
                  <a:spcPct val="0"/>
                </a:spcAft>
              </a:pPr>
              <a:endParaRPr lang="en-US" sz="2400" spc="-38" dirty="0">
                <a:solidFill>
                  <a:srgbClr val="ADACC8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2" name="TextBox 40"/>
          <p:cNvSpPr txBox="1"/>
          <p:nvPr/>
        </p:nvSpPr>
        <p:spPr>
          <a:xfrm>
            <a:off x="5228905" y="1885479"/>
            <a:ext cx="1581134" cy="1869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98500" fontAlgn="base">
              <a:lnSpc>
                <a:spcPct val="90000"/>
              </a:lnSpc>
              <a:spcBef>
                <a:spcPct val="0"/>
              </a:spcBef>
              <a:spcAft>
                <a:spcPts val="460"/>
              </a:spcAft>
              <a:buClr>
                <a:srgbClr val="FFFFFF"/>
              </a:buClr>
            </a:pPr>
            <a:r>
              <a:rPr lang="en-US" altLang="zh-CN" sz="1350" spc="-38" dirty="0">
                <a:solidFill>
                  <a:srgbClr val="7F7F7F"/>
                </a:solidFill>
                <a:cs typeface="+mn-ea"/>
                <a:sym typeface="+mn-lt"/>
              </a:rPr>
              <a:t>Fill in the description</a:t>
            </a:r>
            <a:endParaRPr lang="en-US" sz="1350" spc="-38" dirty="0">
              <a:solidFill>
                <a:srgbClr val="7F7F7F"/>
              </a:solidFill>
              <a:cs typeface="+mn-ea"/>
              <a:sym typeface="+mn-lt"/>
            </a:endParaRPr>
          </a:p>
        </p:txBody>
      </p:sp>
      <p:sp>
        <p:nvSpPr>
          <p:cNvPr id="13" name="TextBox 42"/>
          <p:cNvSpPr txBox="1"/>
          <p:nvPr/>
        </p:nvSpPr>
        <p:spPr>
          <a:xfrm>
            <a:off x="5261781" y="2851785"/>
            <a:ext cx="1548258" cy="1869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98500" fontAlgn="base">
              <a:lnSpc>
                <a:spcPct val="90000"/>
              </a:lnSpc>
              <a:spcBef>
                <a:spcPct val="0"/>
              </a:spcBef>
              <a:spcAft>
                <a:spcPts val="460"/>
              </a:spcAft>
              <a:buClr>
                <a:srgbClr val="FFFFFF"/>
              </a:buClr>
            </a:pPr>
            <a:r>
              <a:rPr lang="en-US" altLang="zh-CN" sz="1350" spc="-38" dirty="0">
                <a:solidFill>
                  <a:srgbClr val="7F7F7F"/>
                </a:solidFill>
                <a:cs typeface="+mn-ea"/>
                <a:sym typeface="+mn-lt"/>
              </a:rPr>
              <a:t>Fill in the description</a:t>
            </a:r>
          </a:p>
        </p:txBody>
      </p:sp>
      <p:sp>
        <p:nvSpPr>
          <p:cNvPr id="63" name="TextBox 43"/>
          <p:cNvSpPr txBox="1"/>
          <p:nvPr/>
        </p:nvSpPr>
        <p:spPr>
          <a:xfrm>
            <a:off x="5238094" y="3931905"/>
            <a:ext cx="1431239" cy="18697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698500" fontAlgn="base">
              <a:lnSpc>
                <a:spcPct val="90000"/>
              </a:lnSpc>
              <a:spcBef>
                <a:spcPct val="0"/>
              </a:spcBef>
              <a:spcAft>
                <a:spcPts val="460"/>
              </a:spcAft>
              <a:buClr>
                <a:srgbClr val="FFFFFF"/>
              </a:buClr>
            </a:pPr>
            <a:r>
              <a:rPr lang="en-US" altLang="zh-CN" sz="1350" spc="-38" dirty="0">
                <a:solidFill>
                  <a:srgbClr val="7F7F7F"/>
                </a:solidFill>
                <a:cs typeface="+mn-ea"/>
                <a:sym typeface="+mn-lt"/>
              </a:rPr>
              <a:t>Fill in the description</a:t>
            </a:r>
          </a:p>
        </p:txBody>
      </p:sp>
      <p:grpSp>
        <p:nvGrpSpPr>
          <p:cNvPr id="64" name="Group 90"/>
          <p:cNvGrpSpPr/>
          <p:nvPr/>
        </p:nvGrpSpPr>
        <p:grpSpPr>
          <a:xfrm>
            <a:off x="4472821" y="2653583"/>
            <a:ext cx="633846" cy="562947"/>
            <a:chOff x="8698531" y="2391463"/>
            <a:chExt cx="828966" cy="736049"/>
          </a:xfrm>
          <a:solidFill>
            <a:srgbClr val="B1B5E1"/>
          </a:solidFill>
        </p:grpSpPr>
        <p:sp>
          <p:nvSpPr>
            <p:cNvPr id="65" name="Freeform 237"/>
            <p:cNvSpPr>
              <a:spLocks noChangeAspect="1"/>
            </p:cNvSpPr>
            <p:nvPr/>
          </p:nvSpPr>
          <p:spPr bwMode="auto">
            <a:xfrm>
              <a:off x="8933547" y="2599629"/>
              <a:ext cx="358934" cy="319717"/>
            </a:xfrm>
            <a:custGeom>
              <a:avLst/>
              <a:gdLst>
                <a:gd name="T0" fmla="*/ 95 w 95"/>
                <a:gd name="T1" fmla="*/ 85 h 85"/>
                <a:gd name="T2" fmla="*/ 0 w 95"/>
                <a:gd name="T3" fmla="*/ 85 h 85"/>
                <a:gd name="T4" fmla="*/ 0 w 95"/>
                <a:gd name="T5" fmla="*/ 76 h 85"/>
                <a:gd name="T6" fmla="*/ 5 w 95"/>
                <a:gd name="T7" fmla="*/ 67 h 85"/>
                <a:gd name="T8" fmla="*/ 36 w 95"/>
                <a:gd name="T9" fmla="*/ 54 h 85"/>
                <a:gd name="T10" fmla="*/ 38 w 95"/>
                <a:gd name="T11" fmla="*/ 51 h 85"/>
                <a:gd name="T12" fmla="*/ 36 w 95"/>
                <a:gd name="T13" fmla="*/ 47 h 85"/>
                <a:gd name="T14" fmla="*/ 48 w 95"/>
                <a:gd name="T15" fmla="*/ 0 h 85"/>
                <a:gd name="T16" fmla="*/ 59 w 95"/>
                <a:gd name="T17" fmla="*/ 47 h 85"/>
                <a:gd name="T18" fmla="*/ 57 w 95"/>
                <a:gd name="T19" fmla="*/ 51 h 85"/>
                <a:gd name="T20" fmla="*/ 59 w 95"/>
                <a:gd name="T21" fmla="*/ 54 h 85"/>
                <a:gd name="T22" fmla="*/ 91 w 95"/>
                <a:gd name="T23" fmla="*/ 67 h 85"/>
                <a:gd name="T24" fmla="*/ 95 w 95"/>
                <a:gd name="T25" fmla="*/ 76 h 85"/>
                <a:gd name="T26" fmla="*/ 95 w 95"/>
                <a:gd name="T27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5" h="85">
                  <a:moveTo>
                    <a:pt x="95" y="85"/>
                  </a:moveTo>
                  <a:cubicBezTo>
                    <a:pt x="0" y="85"/>
                    <a:pt x="0" y="85"/>
                    <a:pt x="0" y="85"/>
                  </a:cubicBezTo>
                  <a:cubicBezTo>
                    <a:pt x="0" y="82"/>
                    <a:pt x="0" y="79"/>
                    <a:pt x="0" y="76"/>
                  </a:cubicBezTo>
                  <a:cubicBezTo>
                    <a:pt x="0" y="72"/>
                    <a:pt x="1" y="70"/>
                    <a:pt x="5" y="67"/>
                  </a:cubicBezTo>
                  <a:cubicBezTo>
                    <a:pt x="12" y="61"/>
                    <a:pt x="24" y="57"/>
                    <a:pt x="36" y="54"/>
                  </a:cubicBezTo>
                  <a:cubicBezTo>
                    <a:pt x="38" y="53"/>
                    <a:pt x="38" y="53"/>
                    <a:pt x="38" y="51"/>
                  </a:cubicBezTo>
                  <a:cubicBezTo>
                    <a:pt x="38" y="49"/>
                    <a:pt x="38" y="49"/>
                    <a:pt x="36" y="47"/>
                  </a:cubicBezTo>
                  <a:cubicBezTo>
                    <a:pt x="23" y="36"/>
                    <a:pt x="24" y="2"/>
                    <a:pt x="48" y="0"/>
                  </a:cubicBezTo>
                  <a:cubicBezTo>
                    <a:pt x="71" y="2"/>
                    <a:pt x="72" y="36"/>
                    <a:pt x="59" y="47"/>
                  </a:cubicBezTo>
                  <a:cubicBezTo>
                    <a:pt x="57" y="49"/>
                    <a:pt x="57" y="49"/>
                    <a:pt x="57" y="51"/>
                  </a:cubicBezTo>
                  <a:cubicBezTo>
                    <a:pt x="57" y="53"/>
                    <a:pt x="57" y="53"/>
                    <a:pt x="59" y="54"/>
                  </a:cubicBezTo>
                  <a:cubicBezTo>
                    <a:pt x="71" y="57"/>
                    <a:pt x="83" y="61"/>
                    <a:pt x="91" y="67"/>
                  </a:cubicBezTo>
                  <a:cubicBezTo>
                    <a:pt x="94" y="70"/>
                    <a:pt x="95" y="72"/>
                    <a:pt x="95" y="76"/>
                  </a:cubicBezTo>
                  <a:cubicBezTo>
                    <a:pt x="95" y="79"/>
                    <a:pt x="95" y="82"/>
                    <a:pt x="95" y="85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<a:noAutofit/>
            </a:bodyPr>
            <a:lstStyle/>
            <a:p>
              <a:pPr algn="ctr" defTabSz="698500" fontAlgn="base">
                <a:spcBef>
                  <a:spcPct val="0"/>
                </a:spcBef>
                <a:spcAft>
                  <a:spcPct val="0"/>
                </a:spcAft>
              </a:pPr>
              <a:endParaRPr lang="en-US" sz="1350" b="1" spc="-38">
                <a:solidFill>
                  <a:srgbClr val="ADACC8"/>
                </a:solidFill>
                <a:cs typeface="+mn-ea"/>
                <a:sym typeface="+mn-lt"/>
              </a:endParaRPr>
            </a:p>
          </p:txBody>
        </p:sp>
        <p:grpSp>
          <p:nvGrpSpPr>
            <p:cNvPr id="66" name="Group 92"/>
            <p:cNvGrpSpPr/>
            <p:nvPr/>
          </p:nvGrpSpPr>
          <p:grpSpPr>
            <a:xfrm>
              <a:off x="8698531" y="2391463"/>
              <a:ext cx="828966" cy="736049"/>
              <a:chOff x="5625794" y="1599766"/>
              <a:chExt cx="4594902" cy="4080930"/>
            </a:xfrm>
            <a:grpFill/>
          </p:grpSpPr>
          <p:grpSp>
            <p:nvGrpSpPr>
              <p:cNvPr id="67" name="Group 93"/>
              <p:cNvGrpSpPr/>
              <p:nvPr/>
            </p:nvGrpSpPr>
            <p:grpSpPr>
              <a:xfrm>
                <a:off x="6191250" y="1599766"/>
                <a:ext cx="3473485" cy="1069614"/>
                <a:chOff x="6191250" y="1599766"/>
                <a:chExt cx="3473485" cy="1069614"/>
              </a:xfrm>
              <a:grpFill/>
            </p:grpSpPr>
            <p:sp>
              <p:nvSpPr>
                <p:cNvPr id="68" name="Freeform 99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85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b="1" spc="-38" dirty="0">
                    <a:solidFill>
                      <a:srgbClr val="ADACC8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69" name="Freeform 100"/>
                <p:cNvSpPr/>
                <p:nvPr/>
              </p:nvSpPr>
              <p:spPr bwMode="auto">
                <a:xfrm flipH="1">
                  <a:off x="8043104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85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b="1" spc="-38" dirty="0">
                    <a:solidFill>
                      <a:srgbClr val="ADACC8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70" name="Group 94"/>
              <p:cNvGrpSpPr/>
              <p:nvPr/>
            </p:nvGrpSpPr>
            <p:grpSpPr>
              <a:xfrm flipV="1">
                <a:off x="6191250" y="4611080"/>
                <a:ext cx="3473483" cy="1069616"/>
                <a:chOff x="6191250" y="1599764"/>
                <a:chExt cx="3473483" cy="1069616"/>
              </a:xfrm>
              <a:grpFill/>
            </p:grpSpPr>
            <p:sp>
              <p:nvSpPr>
                <p:cNvPr id="71" name="Freeform 97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85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b="1" spc="-38" dirty="0">
                    <a:solidFill>
                      <a:srgbClr val="ADACC8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72" name="Freeform 98"/>
                <p:cNvSpPr/>
                <p:nvPr/>
              </p:nvSpPr>
              <p:spPr bwMode="auto">
                <a:xfrm flipH="1">
                  <a:off x="8043102" y="1599764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85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b="1" spc="-38" dirty="0">
                    <a:solidFill>
                      <a:srgbClr val="ADACC8"/>
                    </a:solidFill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73" name="Freeform 95"/>
              <p:cNvSpPr/>
              <p:nvPr/>
            </p:nvSpPr>
            <p:spPr bwMode="auto">
              <a:xfrm rot="17954294">
                <a:off x="5349785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<a:noAutofit/>
              </a:bodyPr>
              <a:lstStyle/>
              <a:p>
                <a:pPr algn="ctr" defTabSz="6985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 b="1" spc="-38" dirty="0">
                  <a:solidFill>
                    <a:srgbClr val="ADACC8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74" name="Freeform 96"/>
              <p:cNvSpPr/>
              <p:nvPr/>
            </p:nvSpPr>
            <p:spPr bwMode="auto">
              <a:xfrm rot="3645706" flipH="1">
                <a:off x="8875073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<a:noAutofit/>
              </a:bodyPr>
              <a:lstStyle/>
              <a:p>
                <a:pPr algn="ctr" defTabSz="6985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 b="1" spc="-38" dirty="0">
                  <a:solidFill>
                    <a:srgbClr val="ADACC8"/>
                  </a:solidFill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75" name="Group 101"/>
          <p:cNvGrpSpPr/>
          <p:nvPr/>
        </p:nvGrpSpPr>
        <p:grpSpPr>
          <a:xfrm>
            <a:off x="4472821" y="3756590"/>
            <a:ext cx="633846" cy="562947"/>
            <a:chOff x="8698531" y="3979675"/>
            <a:chExt cx="828966" cy="736049"/>
          </a:xfrm>
          <a:solidFill>
            <a:schemeClr val="accent3">
              <a:lumMod val="60000"/>
              <a:lumOff val="40000"/>
            </a:schemeClr>
          </a:solidFill>
        </p:grpSpPr>
        <p:sp>
          <p:nvSpPr>
            <p:cNvPr id="76" name="Freeform 100"/>
            <p:cNvSpPr>
              <a:spLocks noEditPoints="1"/>
            </p:cNvSpPr>
            <p:nvPr/>
          </p:nvSpPr>
          <p:spPr bwMode="black">
            <a:xfrm>
              <a:off x="8957393" y="4225167"/>
              <a:ext cx="371203" cy="245065"/>
            </a:xfrm>
            <a:custGeom>
              <a:avLst/>
              <a:gdLst>
                <a:gd name="T0" fmla="*/ 103 w 103"/>
                <a:gd name="T1" fmla="*/ 33 h 68"/>
                <a:gd name="T2" fmla="*/ 56 w 103"/>
                <a:gd name="T3" fmla="*/ 68 h 68"/>
                <a:gd name="T4" fmla="*/ 56 w 103"/>
                <a:gd name="T5" fmla="*/ 0 h 68"/>
                <a:gd name="T6" fmla="*/ 103 w 103"/>
                <a:gd name="T7" fmla="*/ 33 h 68"/>
                <a:gd name="T8" fmla="*/ 0 w 103"/>
                <a:gd name="T9" fmla="*/ 0 h 68"/>
                <a:gd name="T10" fmla="*/ 0 w 103"/>
                <a:gd name="T11" fmla="*/ 68 h 68"/>
                <a:gd name="T12" fmla="*/ 47 w 103"/>
                <a:gd name="T13" fmla="*/ 33 h 68"/>
                <a:gd name="T14" fmla="*/ 0 w 103"/>
                <a:gd name="T15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3" h="68">
                  <a:moveTo>
                    <a:pt x="103" y="33"/>
                  </a:moveTo>
                  <a:lnTo>
                    <a:pt x="56" y="68"/>
                  </a:lnTo>
                  <a:lnTo>
                    <a:pt x="56" y="0"/>
                  </a:lnTo>
                  <a:lnTo>
                    <a:pt x="103" y="33"/>
                  </a:lnTo>
                  <a:close/>
                  <a:moveTo>
                    <a:pt x="0" y="0"/>
                  </a:moveTo>
                  <a:lnTo>
                    <a:pt x="0" y="68"/>
                  </a:lnTo>
                  <a:lnTo>
                    <a:pt x="47" y="3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<a:noAutofit/>
            </a:bodyPr>
            <a:lstStyle/>
            <a:p>
              <a:pPr algn="ctr" defTabSz="698500" fontAlgn="base">
                <a:spcBef>
                  <a:spcPct val="0"/>
                </a:spcBef>
                <a:spcAft>
                  <a:spcPct val="0"/>
                </a:spcAft>
              </a:pPr>
              <a:endParaRPr lang="en-US" sz="1350" b="1" spc="-38">
                <a:solidFill>
                  <a:srgbClr val="ADACC8"/>
                </a:solidFill>
                <a:cs typeface="+mn-ea"/>
                <a:sym typeface="+mn-lt"/>
              </a:endParaRPr>
            </a:p>
          </p:txBody>
        </p:sp>
        <p:grpSp>
          <p:nvGrpSpPr>
            <p:cNvPr id="77" name="Group 103"/>
            <p:cNvGrpSpPr/>
            <p:nvPr/>
          </p:nvGrpSpPr>
          <p:grpSpPr>
            <a:xfrm>
              <a:off x="8698531" y="3979675"/>
              <a:ext cx="828966" cy="736049"/>
              <a:chOff x="5625794" y="1599766"/>
              <a:chExt cx="4594902" cy="4080930"/>
            </a:xfrm>
            <a:grpFill/>
          </p:grpSpPr>
          <p:grpSp>
            <p:nvGrpSpPr>
              <p:cNvPr id="78" name="Group 104"/>
              <p:cNvGrpSpPr/>
              <p:nvPr/>
            </p:nvGrpSpPr>
            <p:grpSpPr>
              <a:xfrm>
                <a:off x="6191250" y="1599766"/>
                <a:ext cx="3473485" cy="1069614"/>
                <a:chOff x="6191250" y="1599766"/>
                <a:chExt cx="3473485" cy="1069614"/>
              </a:xfrm>
              <a:grpFill/>
            </p:grpSpPr>
            <p:sp>
              <p:nvSpPr>
                <p:cNvPr id="79" name="Freeform 110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85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b="1" spc="-38" dirty="0">
                    <a:solidFill>
                      <a:srgbClr val="ADACC8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80" name="Freeform 111"/>
                <p:cNvSpPr/>
                <p:nvPr/>
              </p:nvSpPr>
              <p:spPr bwMode="auto">
                <a:xfrm flipH="1">
                  <a:off x="8043104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85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b="1" spc="-38" dirty="0">
                    <a:solidFill>
                      <a:srgbClr val="ADACC8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81" name="Group 105"/>
              <p:cNvGrpSpPr/>
              <p:nvPr/>
            </p:nvGrpSpPr>
            <p:grpSpPr>
              <a:xfrm flipV="1">
                <a:off x="6191250" y="4611080"/>
                <a:ext cx="3473483" cy="1069616"/>
                <a:chOff x="6191250" y="1599764"/>
                <a:chExt cx="3473483" cy="1069616"/>
              </a:xfrm>
              <a:grpFill/>
            </p:grpSpPr>
            <p:sp>
              <p:nvSpPr>
                <p:cNvPr id="82" name="Freeform 108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85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b="1" spc="-38" dirty="0">
                    <a:solidFill>
                      <a:srgbClr val="ADACC8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83" name="Freeform 109"/>
                <p:cNvSpPr/>
                <p:nvPr/>
              </p:nvSpPr>
              <p:spPr bwMode="auto">
                <a:xfrm flipH="1">
                  <a:off x="8043102" y="1599764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85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b="1" spc="-38" dirty="0">
                    <a:solidFill>
                      <a:srgbClr val="ADACC8"/>
                    </a:solidFill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84" name="Freeform 106"/>
              <p:cNvSpPr/>
              <p:nvPr/>
            </p:nvSpPr>
            <p:spPr bwMode="auto">
              <a:xfrm rot="17954294">
                <a:off x="5349785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<a:noAutofit/>
              </a:bodyPr>
              <a:lstStyle/>
              <a:p>
                <a:pPr algn="ctr" defTabSz="6985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 b="1" spc="-38" dirty="0">
                  <a:solidFill>
                    <a:srgbClr val="ADACC8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5" name="Freeform 107"/>
              <p:cNvSpPr/>
              <p:nvPr/>
            </p:nvSpPr>
            <p:spPr bwMode="auto">
              <a:xfrm rot="3645706" flipH="1">
                <a:off x="8875073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<a:noAutofit/>
              </a:bodyPr>
              <a:lstStyle/>
              <a:p>
                <a:pPr algn="ctr" defTabSz="6985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 b="1" spc="-38" dirty="0">
                  <a:solidFill>
                    <a:srgbClr val="ADACC8"/>
                  </a:solidFill>
                  <a:cs typeface="+mn-ea"/>
                  <a:sym typeface="+mn-lt"/>
                </a:endParaRPr>
              </a:p>
            </p:txBody>
          </p:sp>
        </p:grpSp>
      </p:grpSp>
      <p:sp>
        <p:nvSpPr>
          <p:cNvPr id="86" name="Right Brace 112"/>
          <p:cNvSpPr/>
          <p:nvPr/>
        </p:nvSpPr>
        <p:spPr>
          <a:xfrm rot="10800000">
            <a:off x="3898992" y="1800216"/>
            <a:ext cx="427545" cy="2258569"/>
          </a:xfrm>
          <a:prstGeom prst="rightBrace">
            <a:avLst>
              <a:gd name="adj1" fmla="val 47292"/>
              <a:gd name="adj2" fmla="val 50110"/>
            </a:avLst>
          </a:prstGeom>
          <a:noFill/>
          <a:ln w="12700" cap="flat" cmpd="sng" algn="ctr">
            <a:solidFill>
              <a:srgbClr val="ADACC8"/>
            </a:solidFill>
            <a:prstDash val="solid"/>
            <a:headEnd type="none"/>
            <a:tailEnd type="none"/>
          </a:ln>
          <a:effectLst/>
        </p:spPr>
        <p:txBody>
          <a:bodyPr lIns="69896" tIns="34949" rIns="69896" bIns="34949" rtlCol="0" anchor="ctr"/>
          <a:lstStyle/>
          <a:p>
            <a:pPr algn="ctr" defTabSz="699135"/>
            <a:endParaRPr lang="en-US" sz="1350">
              <a:solidFill>
                <a:srgbClr val="ADACC8"/>
              </a:solidFill>
              <a:cs typeface="+mn-ea"/>
              <a:sym typeface="+mn-lt"/>
            </a:endParaRPr>
          </a:p>
        </p:txBody>
      </p:sp>
      <p:grpSp>
        <p:nvGrpSpPr>
          <p:cNvPr id="87" name="Group 113"/>
          <p:cNvGrpSpPr/>
          <p:nvPr/>
        </p:nvGrpSpPr>
        <p:grpSpPr>
          <a:xfrm>
            <a:off x="4462988" y="1717659"/>
            <a:ext cx="633846" cy="562947"/>
            <a:chOff x="2393096" y="3314046"/>
            <a:chExt cx="828750" cy="736049"/>
          </a:xfrm>
          <a:solidFill>
            <a:schemeClr val="accent3"/>
          </a:solidFill>
        </p:grpSpPr>
        <p:sp>
          <p:nvSpPr>
            <p:cNvPr id="88" name="Donut 1"/>
            <p:cNvSpPr/>
            <p:nvPr/>
          </p:nvSpPr>
          <p:spPr bwMode="auto">
            <a:xfrm>
              <a:off x="2627474" y="3511580"/>
              <a:ext cx="359995" cy="358073"/>
            </a:xfrm>
            <a:custGeom>
              <a:avLst/>
              <a:gdLst/>
              <a:ahLst/>
              <a:cxnLst/>
              <a:rect l="l" t="t" r="r" b="b"/>
              <a:pathLst>
                <a:path w="359995" h="358073">
                  <a:moveTo>
                    <a:pt x="1123" y="199707"/>
                  </a:moveTo>
                  <a:lnTo>
                    <a:pt x="124671" y="200830"/>
                  </a:lnTo>
                  <a:lnTo>
                    <a:pt x="166228" y="236771"/>
                  </a:lnTo>
                  <a:cubicBezTo>
                    <a:pt x="147787" y="236941"/>
                    <a:pt x="129346" y="237110"/>
                    <a:pt x="110905" y="237279"/>
                  </a:cubicBezTo>
                  <a:cubicBezTo>
                    <a:pt x="126331" y="262471"/>
                    <a:pt x="154567" y="277062"/>
                    <a:pt x="186212" y="277062"/>
                  </a:cubicBezTo>
                  <a:cubicBezTo>
                    <a:pt x="225799" y="277062"/>
                    <a:pt x="260053" y="254227"/>
                    <a:pt x="276157" y="220830"/>
                  </a:cubicBezTo>
                  <a:lnTo>
                    <a:pt x="356653" y="220830"/>
                  </a:lnTo>
                  <a:cubicBezTo>
                    <a:pt x="337124" y="296696"/>
                    <a:pt x="268203" y="352658"/>
                    <a:pt x="186212" y="352658"/>
                  </a:cubicBezTo>
                  <a:cubicBezTo>
                    <a:pt x="127185" y="352658"/>
                    <a:pt x="74933" y="323655"/>
                    <a:pt x="43803" y="278531"/>
                  </a:cubicBezTo>
                  <a:lnTo>
                    <a:pt x="43803" y="289560"/>
                  </a:lnTo>
                  <a:lnTo>
                    <a:pt x="38188" y="358073"/>
                  </a:lnTo>
                  <a:lnTo>
                    <a:pt x="0" y="326625"/>
                  </a:lnTo>
                  <a:close/>
                  <a:moveTo>
                    <a:pt x="186212" y="0"/>
                  </a:moveTo>
                  <a:cubicBezTo>
                    <a:pt x="241995" y="0"/>
                    <a:pt x="291729" y="25904"/>
                    <a:pt x="321951" y="67970"/>
                  </a:cubicBezTo>
                  <a:cubicBezTo>
                    <a:pt x="322151" y="46267"/>
                    <a:pt x="322350" y="24565"/>
                    <a:pt x="322549" y="2862"/>
                  </a:cubicBezTo>
                  <a:lnTo>
                    <a:pt x="358490" y="44419"/>
                  </a:lnTo>
                  <a:lnTo>
                    <a:pt x="359413" y="145933"/>
                  </a:lnTo>
                  <a:cubicBezTo>
                    <a:pt x="359808" y="146450"/>
                    <a:pt x="359903" y="147019"/>
                    <a:pt x="359995" y="147588"/>
                  </a:cubicBezTo>
                  <a:lnTo>
                    <a:pt x="359428" y="147588"/>
                  </a:lnTo>
                  <a:lnTo>
                    <a:pt x="359613" y="167968"/>
                  </a:lnTo>
                  <a:lnTo>
                    <a:pt x="232696" y="169091"/>
                  </a:lnTo>
                  <a:lnTo>
                    <a:pt x="201247" y="130903"/>
                  </a:lnTo>
                  <a:lnTo>
                    <a:pt x="269760" y="125288"/>
                  </a:lnTo>
                  <a:lnTo>
                    <a:pt x="271731" y="125288"/>
                  </a:lnTo>
                  <a:cubicBezTo>
                    <a:pt x="255176" y="95313"/>
                    <a:pt x="222996" y="75596"/>
                    <a:pt x="186212" y="75596"/>
                  </a:cubicBezTo>
                  <a:cubicBezTo>
                    <a:pt x="140615" y="75596"/>
                    <a:pt x="102095" y="105890"/>
                    <a:pt x="90145" y="147588"/>
                  </a:cubicBezTo>
                  <a:lnTo>
                    <a:pt x="12428" y="147588"/>
                  </a:lnTo>
                  <a:cubicBezTo>
                    <a:pt x="25957" y="63857"/>
                    <a:pt x="98627" y="0"/>
                    <a:pt x="186212" y="0"/>
                  </a:cubicBezTo>
                  <a:close/>
                </a:path>
              </a:pathLst>
            </a:custGeom>
            <a:grp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<a:noAutofit/>
            </a:bodyPr>
            <a:lstStyle/>
            <a:p>
              <a:pPr algn="ctr" defTabSz="698500" fontAlgn="base">
                <a:spcBef>
                  <a:spcPct val="0"/>
                </a:spcBef>
                <a:spcAft>
                  <a:spcPct val="0"/>
                </a:spcAft>
              </a:pPr>
              <a:endParaRPr lang="en-US" sz="1350" spc="-38" dirty="0">
                <a:solidFill>
                  <a:srgbClr val="ADACC8"/>
                </a:solidFill>
                <a:cs typeface="+mn-ea"/>
                <a:sym typeface="+mn-lt"/>
              </a:endParaRPr>
            </a:p>
          </p:txBody>
        </p:sp>
        <p:grpSp>
          <p:nvGrpSpPr>
            <p:cNvPr id="89" name="Group 115"/>
            <p:cNvGrpSpPr/>
            <p:nvPr/>
          </p:nvGrpSpPr>
          <p:grpSpPr>
            <a:xfrm>
              <a:off x="2393096" y="3314046"/>
              <a:ext cx="828750" cy="736049"/>
              <a:chOff x="5625794" y="1599766"/>
              <a:chExt cx="4594902" cy="4080930"/>
            </a:xfrm>
            <a:grpFill/>
          </p:grpSpPr>
          <p:grpSp>
            <p:nvGrpSpPr>
              <p:cNvPr id="90" name="Group 116"/>
              <p:cNvGrpSpPr/>
              <p:nvPr/>
            </p:nvGrpSpPr>
            <p:grpSpPr>
              <a:xfrm>
                <a:off x="6191250" y="1599766"/>
                <a:ext cx="3473485" cy="1069614"/>
                <a:chOff x="6191250" y="1599766"/>
                <a:chExt cx="3473485" cy="1069614"/>
              </a:xfrm>
              <a:grpFill/>
            </p:grpSpPr>
            <p:sp>
              <p:nvSpPr>
                <p:cNvPr id="91" name="Freeform 122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85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spc="-38" dirty="0">
                    <a:solidFill>
                      <a:srgbClr val="ADACC8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92" name="Freeform 123"/>
                <p:cNvSpPr/>
                <p:nvPr/>
              </p:nvSpPr>
              <p:spPr bwMode="auto">
                <a:xfrm flipH="1">
                  <a:off x="8043104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85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spc="-38" dirty="0">
                    <a:solidFill>
                      <a:srgbClr val="ADACC8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93" name="Group 117"/>
              <p:cNvGrpSpPr/>
              <p:nvPr/>
            </p:nvGrpSpPr>
            <p:grpSpPr>
              <a:xfrm flipV="1">
                <a:off x="6191250" y="4611080"/>
                <a:ext cx="3473483" cy="1069616"/>
                <a:chOff x="6191250" y="1599764"/>
                <a:chExt cx="3473483" cy="1069616"/>
              </a:xfrm>
              <a:grpFill/>
            </p:grpSpPr>
            <p:sp>
              <p:nvSpPr>
                <p:cNvPr id="94" name="Freeform 120"/>
                <p:cNvSpPr/>
                <p:nvPr/>
              </p:nvSpPr>
              <p:spPr bwMode="auto">
                <a:xfrm>
                  <a:off x="6191250" y="1599766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85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spc="-38" dirty="0">
                    <a:solidFill>
                      <a:srgbClr val="ADACC8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95" name="Freeform 121"/>
                <p:cNvSpPr/>
                <p:nvPr/>
              </p:nvSpPr>
              <p:spPr bwMode="auto">
                <a:xfrm flipH="1">
                  <a:off x="8043102" y="1599764"/>
                  <a:ext cx="1621631" cy="1069614"/>
                </a:xfrm>
                <a:custGeom>
                  <a:avLst/>
                  <a:gdLst>
                    <a:gd name="connsiteX0" fmla="*/ 668844 w 4158105"/>
                    <a:gd name="connsiteY0" fmla="*/ 1079241 h 4110786"/>
                    <a:gd name="connsiteX1" fmla="*/ 671967 w 4158105"/>
                    <a:gd name="connsiteY1" fmla="*/ 1081087 h 4110786"/>
                    <a:gd name="connsiteX2" fmla="*/ 576717 w 4158105"/>
                    <a:gd name="connsiteY2" fmla="*/ 1235869 h 4110786"/>
                    <a:gd name="connsiteX3" fmla="*/ 574232 w 4158105"/>
                    <a:gd name="connsiteY3" fmla="*/ 1234330 h 4110786"/>
                    <a:gd name="connsiteX4" fmla="*/ 668844 w 4158105"/>
                    <a:gd name="connsiteY4" fmla="*/ 1079241 h 4110786"/>
                    <a:gd name="connsiteX5" fmla="*/ 398124 w 4158105"/>
                    <a:gd name="connsiteY5" fmla="*/ 919162 h 4110786"/>
                    <a:gd name="connsiteX6" fmla="*/ 399753 w 4158105"/>
                    <a:gd name="connsiteY6" fmla="*/ 920125 h 4110786"/>
                    <a:gd name="connsiteX7" fmla="*/ 308772 w 4158105"/>
                    <a:gd name="connsiteY7" fmla="*/ 1069886 h 4110786"/>
                    <a:gd name="connsiteX8" fmla="*/ 307636 w 4158105"/>
                    <a:gd name="connsiteY8" fmla="*/ 1069182 h 4110786"/>
                    <a:gd name="connsiteX9" fmla="*/ 398124 w 4158105"/>
                    <a:gd name="connsiteY9" fmla="*/ 919162 h 4110786"/>
                    <a:gd name="connsiteX10" fmla="*/ 2106264 w 4158105"/>
                    <a:gd name="connsiteY10" fmla="*/ 319178 h 4110786"/>
                    <a:gd name="connsiteX11" fmla="*/ 2198792 w 4158105"/>
                    <a:gd name="connsiteY11" fmla="*/ 323850 h 4110786"/>
                    <a:gd name="connsiteX12" fmla="*/ 2019755 w 4158105"/>
                    <a:gd name="connsiteY12" fmla="*/ 323850 h 4110786"/>
                    <a:gd name="connsiteX13" fmla="*/ 2019755 w 4158105"/>
                    <a:gd name="connsiteY13" fmla="*/ 323546 h 4110786"/>
                    <a:gd name="connsiteX14" fmla="*/ 2106264 w 4158105"/>
                    <a:gd name="connsiteY14" fmla="*/ 319178 h 4110786"/>
                    <a:gd name="connsiteX15" fmla="*/ 2224351 w 4158105"/>
                    <a:gd name="connsiteY15" fmla="*/ 13068 h 4110786"/>
                    <a:gd name="connsiteX16" fmla="*/ 4158105 w 4158105"/>
                    <a:gd name="connsiteY16" fmla="*/ 2058946 h 4110786"/>
                    <a:gd name="connsiteX17" fmla="*/ 2106265 w 4158105"/>
                    <a:gd name="connsiteY17" fmla="*/ 4110786 h 4110786"/>
                    <a:gd name="connsiteX18" fmla="*/ 54424 w 4158105"/>
                    <a:gd name="connsiteY18" fmla="*/ 2058946 h 4110786"/>
                    <a:gd name="connsiteX19" fmla="*/ 574232 w 4158105"/>
                    <a:gd name="connsiteY19" fmla="*/ 1234330 h 4110786"/>
                    <a:gd name="connsiteX20" fmla="*/ 366497 w 4158105"/>
                    <a:gd name="connsiteY20" fmla="*/ 2058945 h 4110786"/>
                    <a:gd name="connsiteX21" fmla="*/ 2106264 w 4158105"/>
                    <a:gd name="connsiteY21" fmla="*/ 3798712 h 4110786"/>
                    <a:gd name="connsiteX22" fmla="*/ 3846030 w 4158105"/>
                    <a:gd name="connsiteY22" fmla="*/ 2058945 h 4110786"/>
                    <a:gd name="connsiteX23" fmla="*/ 2198792 w 4158105"/>
                    <a:gd name="connsiteY23" fmla="*/ 323850 h 4110786"/>
                    <a:gd name="connsiteX24" fmla="*/ 2219780 w 4158105"/>
                    <a:gd name="connsiteY24" fmla="*/ 323850 h 4110786"/>
                    <a:gd name="connsiteX25" fmla="*/ 2224351 w 4158105"/>
                    <a:gd name="connsiteY25" fmla="*/ 13068 h 4110786"/>
                    <a:gd name="connsiteX26" fmla="*/ 2019755 w 4158105"/>
                    <a:gd name="connsiteY26" fmla="*/ 11473 h 4110786"/>
                    <a:gd name="connsiteX27" fmla="*/ 2019755 w 4158105"/>
                    <a:gd name="connsiteY27" fmla="*/ 323546 h 4110786"/>
                    <a:gd name="connsiteX28" fmla="*/ 668844 w 4158105"/>
                    <a:gd name="connsiteY28" fmla="*/ 1079241 h 4110786"/>
                    <a:gd name="connsiteX29" fmla="*/ 399753 w 4158105"/>
                    <a:gd name="connsiteY29" fmla="*/ 920125 h 4110786"/>
                    <a:gd name="connsiteX30" fmla="*/ 2019755 w 4158105"/>
                    <a:gd name="connsiteY30" fmla="*/ 11473 h 4110786"/>
                    <a:gd name="connsiteX31" fmla="*/ 2224543 w 4158105"/>
                    <a:gd name="connsiteY31" fmla="*/ 0 h 4110786"/>
                    <a:gd name="connsiteX32" fmla="*/ 2224351 w 4158105"/>
                    <a:gd name="connsiteY32" fmla="*/ 13068 h 4110786"/>
                    <a:gd name="connsiteX33" fmla="*/ 2106265 w 4158105"/>
                    <a:gd name="connsiteY33" fmla="*/ 7105 h 4110786"/>
                    <a:gd name="connsiteX34" fmla="*/ 2019755 w 4158105"/>
                    <a:gd name="connsiteY34" fmla="*/ 11473 h 4110786"/>
                    <a:gd name="connsiteX35" fmla="*/ 2019755 w 4158105"/>
                    <a:gd name="connsiteY35" fmla="*/ 2381 h 4110786"/>
                    <a:gd name="connsiteX36" fmla="*/ 2224543 w 4158105"/>
                    <a:gd name="connsiteY36" fmla="*/ 0 h 4110786"/>
                    <a:gd name="connsiteX0-1" fmla="*/ 668844 w 4158105"/>
                    <a:gd name="connsiteY0-2" fmla="*/ 1079241 h 4110786"/>
                    <a:gd name="connsiteX1-3" fmla="*/ 671967 w 4158105"/>
                    <a:gd name="connsiteY1-4" fmla="*/ 1081087 h 4110786"/>
                    <a:gd name="connsiteX2-5" fmla="*/ 576717 w 4158105"/>
                    <a:gd name="connsiteY2-6" fmla="*/ 1235869 h 4110786"/>
                    <a:gd name="connsiteX3-7" fmla="*/ 574232 w 4158105"/>
                    <a:gd name="connsiteY3-8" fmla="*/ 1234330 h 4110786"/>
                    <a:gd name="connsiteX4-9" fmla="*/ 668844 w 4158105"/>
                    <a:gd name="connsiteY4-10" fmla="*/ 1079241 h 4110786"/>
                    <a:gd name="connsiteX5-11" fmla="*/ 398124 w 4158105"/>
                    <a:gd name="connsiteY5-12" fmla="*/ 919162 h 4110786"/>
                    <a:gd name="connsiteX6-13" fmla="*/ 399753 w 4158105"/>
                    <a:gd name="connsiteY6-14" fmla="*/ 920125 h 4110786"/>
                    <a:gd name="connsiteX7-15" fmla="*/ 308772 w 4158105"/>
                    <a:gd name="connsiteY7-16" fmla="*/ 1069886 h 4110786"/>
                    <a:gd name="connsiteX8-17" fmla="*/ 398124 w 4158105"/>
                    <a:gd name="connsiteY8-18" fmla="*/ 919162 h 4110786"/>
                    <a:gd name="connsiteX9-19" fmla="*/ 2106264 w 4158105"/>
                    <a:gd name="connsiteY9-20" fmla="*/ 319178 h 4110786"/>
                    <a:gd name="connsiteX10-21" fmla="*/ 2198792 w 4158105"/>
                    <a:gd name="connsiteY10-22" fmla="*/ 323850 h 4110786"/>
                    <a:gd name="connsiteX11-23" fmla="*/ 2019755 w 4158105"/>
                    <a:gd name="connsiteY11-24" fmla="*/ 323850 h 4110786"/>
                    <a:gd name="connsiteX12-25" fmla="*/ 2019755 w 4158105"/>
                    <a:gd name="connsiteY12-26" fmla="*/ 323546 h 4110786"/>
                    <a:gd name="connsiteX13-27" fmla="*/ 2106264 w 4158105"/>
                    <a:gd name="connsiteY13-28" fmla="*/ 319178 h 4110786"/>
                    <a:gd name="connsiteX14-29" fmla="*/ 2224351 w 4158105"/>
                    <a:gd name="connsiteY14-30" fmla="*/ 13068 h 4110786"/>
                    <a:gd name="connsiteX15-31" fmla="*/ 4158105 w 4158105"/>
                    <a:gd name="connsiteY15-32" fmla="*/ 2058946 h 4110786"/>
                    <a:gd name="connsiteX16-33" fmla="*/ 2106265 w 4158105"/>
                    <a:gd name="connsiteY16-34" fmla="*/ 4110786 h 4110786"/>
                    <a:gd name="connsiteX17-35" fmla="*/ 54424 w 4158105"/>
                    <a:gd name="connsiteY17-36" fmla="*/ 2058946 h 4110786"/>
                    <a:gd name="connsiteX18-37" fmla="*/ 574232 w 4158105"/>
                    <a:gd name="connsiteY18-38" fmla="*/ 1234330 h 4110786"/>
                    <a:gd name="connsiteX19-39" fmla="*/ 366497 w 4158105"/>
                    <a:gd name="connsiteY19-40" fmla="*/ 2058945 h 4110786"/>
                    <a:gd name="connsiteX20-41" fmla="*/ 2106264 w 4158105"/>
                    <a:gd name="connsiteY20-42" fmla="*/ 3798712 h 4110786"/>
                    <a:gd name="connsiteX21-43" fmla="*/ 3846030 w 4158105"/>
                    <a:gd name="connsiteY21-44" fmla="*/ 2058945 h 4110786"/>
                    <a:gd name="connsiteX22-45" fmla="*/ 2198792 w 4158105"/>
                    <a:gd name="connsiteY22-46" fmla="*/ 323850 h 4110786"/>
                    <a:gd name="connsiteX23-47" fmla="*/ 2219780 w 4158105"/>
                    <a:gd name="connsiteY23-48" fmla="*/ 323850 h 4110786"/>
                    <a:gd name="connsiteX24-49" fmla="*/ 2224351 w 4158105"/>
                    <a:gd name="connsiteY24-50" fmla="*/ 13068 h 4110786"/>
                    <a:gd name="connsiteX25-51" fmla="*/ 2019755 w 4158105"/>
                    <a:gd name="connsiteY25-52" fmla="*/ 11473 h 4110786"/>
                    <a:gd name="connsiteX26-53" fmla="*/ 2019755 w 4158105"/>
                    <a:gd name="connsiteY26-54" fmla="*/ 323546 h 4110786"/>
                    <a:gd name="connsiteX27-55" fmla="*/ 668844 w 4158105"/>
                    <a:gd name="connsiteY27-56" fmla="*/ 1079241 h 4110786"/>
                    <a:gd name="connsiteX28-57" fmla="*/ 399753 w 4158105"/>
                    <a:gd name="connsiteY28-58" fmla="*/ 920125 h 4110786"/>
                    <a:gd name="connsiteX29-59" fmla="*/ 2019755 w 4158105"/>
                    <a:gd name="connsiteY29-60" fmla="*/ 11473 h 4110786"/>
                    <a:gd name="connsiteX30-61" fmla="*/ 2224543 w 4158105"/>
                    <a:gd name="connsiteY30-62" fmla="*/ 0 h 4110786"/>
                    <a:gd name="connsiteX31-63" fmla="*/ 2224351 w 4158105"/>
                    <a:gd name="connsiteY31-64" fmla="*/ 13068 h 4110786"/>
                    <a:gd name="connsiteX32-65" fmla="*/ 2106265 w 4158105"/>
                    <a:gd name="connsiteY32-66" fmla="*/ 7105 h 4110786"/>
                    <a:gd name="connsiteX33-67" fmla="*/ 2019755 w 4158105"/>
                    <a:gd name="connsiteY33-68" fmla="*/ 11473 h 4110786"/>
                    <a:gd name="connsiteX34-69" fmla="*/ 2019755 w 4158105"/>
                    <a:gd name="connsiteY34-70" fmla="*/ 2381 h 4110786"/>
                    <a:gd name="connsiteX35-71" fmla="*/ 2224543 w 4158105"/>
                    <a:gd name="connsiteY35-72" fmla="*/ 0 h 4110786"/>
                    <a:gd name="connsiteX0-73" fmla="*/ 668844 w 4158105"/>
                    <a:gd name="connsiteY0-74" fmla="*/ 1079241 h 4110786"/>
                    <a:gd name="connsiteX1-75" fmla="*/ 671967 w 4158105"/>
                    <a:gd name="connsiteY1-76" fmla="*/ 1081087 h 4110786"/>
                    <a:gd name="connsiteX2-77" fmla="*/ 576717 w 4158105"/>
                    <a:gd name="connsiteY2-78" fmla="*/ 1235869 h 4110786"/>
                    <a:gd name="connsiteX3-79" fmla="*/ 574232 w 4158105"/>
                    <a:gd name="connsiteY3-80" fmla="*/ 1234330 h 4110786"/>
                    <a:gd name="connsiteX4-81" fmla="*/ 668844 w 4158105"/>
                    <a:gd name="connsiteY4-82" fmla="*/ 1079241 h 4110786"/>
                    <a:gd name="connsiteX5-83" fmla="*/ 398124 w 4158105"/>
                    <a:gd name="connsiteY5-84" fmla="*/ 919162 h 4110786"/>
                    <a:gd name="connsiteX6-85" fmla="*/ 399753 w 4158105"/>
                    <a:gd name="connsiteY6-86" fmla="*/ 920125 h 4110786"/>
                    <a:gd name="connsiteX7-87" fmla="*/ 398124 w 4158105"/>
                    <a:gd name="connsiteY7-88" fmla="*/ 919162 h 4110786"/>
                    <a:gd name="connsiteX8-89" fmla="*/ 2106264 w 4158105"/>
                    <a:gd name="connsiteY8-90" fmla="*/ 319178 h 4110786"/>
                    <a:gd name="connsiteX9-91" fmla="*/ 2198792 w 4158105"/>
                    <a:gd name="connsiteY9-92" fmla="*/ 323850 h 4110786"/>
                    <a:gd name="connsiteX10-93" fmla="*/ 2019755 w 4158105"/>
                    <a:gd name="connsiteY10-94" fmla="*/ 323850 h 4110786"/>
                    <a:gd name="connsiteX11-95" fmla="*/ 2019755 w 4158105"/>
                    <a:gd name="connsiteY11-96" fmla="*/ 323546 h 4110786"/>
                    <a:gd name="connsiteX12-97" fmla="*/ 2106264 w 4158105"/>
                    <a:gd name="connsiteY12-98" fmla="*/ 319178 h 4110786"/>
                    <a:gd name="connsiteX13-99" fmla="*/ 2224351 w 4158105"/>
                    <a:gd name="connsiteY13-100" fmla="*/ 13068 h 4110786"/>
                    <a:gd name="connsiteX14-101" fmla="*/ 4158105 w 4158105"/>
                    <a:gd name="connsiteY14-102" fmla="*/ 2058946 h 4110786"/>
                    <a:gd name="connsiteX15-103" fmla="*/ 2106265 w 4158105"/>
                    <a:gd name="connsiteY15-104" fmla="*/ 4110786 h 4110786"/>
                    <a:gd name="connsiteX16-105" fmla="*/ 54424 w 4158105"/>
                    <a:gd name="connsiteY16-106" fmla="*/ 2058946 h 4110786"/>
                    <a:gd name="connsiteX17-107" fmla="*/ 574232 w 4158105"/>
                    <a:gd name="connsiteY17-108" fmla="*/ 1234330 h 4110786"/>
                    <a:gd name="connsiteX18-109" fmla="*/ 366497 w 4158105"/>
                    <a:gd name="connsiteY18-110" fmla="*/ 2058945 h 4110786"/>
                    <a:gd name="connsiteX19-111" fmla="*/ 2106264 w 4158105"/>
                    <a:gd name="connsiteY19-112" fmla="*/ 3798712 h 4110786"/>
                    <a:gd name="connsiteX20-113" fmla="*/ 3846030 w 4158105"/>
                    <a:gd name="connsiteY20-114" fmla="*/ 2058945 h 4110786"/>
                    <a:gd name="connsiteX21-115" fmla="*/ 2198792 w 4158105"/>
                    <a:gd name="connsiteY21-116" fmla="*/ 323850 h 4110786"/>
                    <a:gd name="connsiteX22-117" fmla="*/ 2219780 w 4158105"/>
                    <a:gd name="connsiteY22-118" fmla="*/ 323850 h 4110786"/>
                    <a:gd name="connsiteX23-119" fmla="*/ 2224351 w 4158105"/>
                    <a:gd name="connsiteY23-120" fmla="*/ 13068 h 4110786"/>
                    <a:gd name="connsiteX24-121" fmla="*/ 2019755 w 4158105"/>
                    <a:gd name="connsiteY24-122" fmla="*/ 11473 h 4110786"/>
                    <a:gd name="connsiteX25-123" fmla="*/ 2019755 w 4158105"/>
                    <a:gd name="connsiteY25-124" fmla="*/ 323546 h 4110786"/>
                    <a:gd name="connsiteX26-125" fmla="*/ 668844 w 4158105"/>
                    <a:gd name="connsiteY26-126" fmla="*/ 1079241 h 4110786"/>
                    <a:gd name="connsiteX27-127" fmla="*/ 399753 w 4158105"/>
                    <a:gd name="connsiteY27-128" fmla="*/ 920125 h 4110786"/>
                    <a:gd name="connsiteX28-129" fmla="*/ 2019755 w 4158105"/>
                    <a:gd name="connsiteY28-130" fmla="*/ 11473 h 4110786"/>
                    <a:gd name="connsiteX29-131" fmla="*/ 2224543 w 4158105"/>
                    <a:gd name="connsiteY29-132" fmla="*/ 0 h 4110786"/>
                    <a:gd name="connsiteX30-133" fmla="*/ 2224351 w 4158105"/>
                    <a:gd name="connsiteY30-134" fmla="*/ 13068 h 4110786"/>
                    <a:gd name="connsiteX31-135" fmla="*/ 2106265 w 4158105"/>
                    <a:gd name="connsiteY31-136" fmla="*/ 7105 h 4110786"/>
                    <a:gd name="connsiteX32-137" fmla="*/ 2019755 w 4158105"/>
                    <a:gd name="connsiteY32-138" fmla="*/ 11473 h 4110786"/>
                    <a:gd name="connsiteX33-139" fmla="*/ 2019755 w 4158105"/>
                    <a:gd name="connsiteY33-140" fmla="*/ 2381 h 4110786"/>
                    <a:gd name="connsiteX34-141" fmla="*/ 2224543 w 4158105"/>
                    <a:gd name="connsiteY34-142" fmla="*/ 0 h 4110786"/>
                    <a:gd name="connsiteX0-143" fmla="*/ 739525 w 4228786"/>
                    <a:gd name="connsiteY0-144" fmla="*/ 1079241 h 4110786"/>
                    <a:gd name="connsiteX1-145" fmla="*/ 742648 w 4228786"/>
                    <a:gd name="connsiteY1-146" fmla="*/ 1081087 h 4110786"/>
                    <a:gd name="connsiteX2-147" fmla="*/ 647398 w 4228786"/>
                    <a:gd name="connsiteY2-148" fmla="*/ 1235869 h 4110786"/>
                    <a:gd name="connsiteX3-149" fmla="*/ 644913 w 4228786"/>
                    <a:gd name="connsiteY3-150" fmla="*/ 1234330 h 4110786"/>
                    <a:gd name="connsiteX4-151" fmla="*/ 739525 w 4228786"/>
                    <a:gd name="connsiteY4-152" fmla="*/ 1079241 h 4110786"/>
                    <a:gd name="connsiteX5-153" fmla="*/ 468805 w 4228786"/>
                    <a:gd name="connsiteY5-154" fmla="*/ 919162 h 4110786"/>
                    <a:gd name="connsiteX6-155" fmla="*/ 470434 w 4228786"/>
                    <a:gd name="connsiteY6-156" fmla="*/ 920125 h 4110786"/>
                    <a:gd name="connsiteX7-157" fmla="*/ 468805 w 4228786"/>
                    <a:gd name="connsiteY7-158" fmla="*/ 919162 h 4110786"/>
                    <a:gd name="connsiteX8-159" fmla="*/ 2176945 w 4228786"/>
                    <a:gd name="connsiteY8-160" fmla="*/ 319178 h 4110786"/>
                    <a:gd name="connsiteX9-161" fmla="*/ 2269473 w 4228786"/>
                    <a:gd name="connsiteY9-162" fmla="*/ 323850 h 4110786"/>
                    <a:gd name="connsiteX10-163" fmla="*/ 2090436 w 4228786"/>
                    <a:gd name="connsiteY10-164" fmla="*/ 323850 h 4110786"/>
                    <a:gd name="connsiteX11-165" fmla="*/ 2090436 w 4228786"/>
                    <a:gd name="connsiteY11-166" fmla="*/ 323546 h 4110786"/>
                    <a:gd name="connsiteX12-167" fmla="*/ 2176945 w 4228786"/>
                    <a:gd name="connsiteY12-168" fmla="*/ 319178 h 4110786"/>
                    <a:gd name="connsiteX13-169" fmla="*/ 2295032 w 4228786"/>
                    <a:gd name="connsiteY13-170" fmla="*/ 13068 h 4110786"/>
                    <a:gd name="connsiteX14-171" fmla="*/ 4228786 w 4228786"/>
                    <a:gd name="connsiteY14-172" fmla="*/ 2058946 h 4110786"/>
                    <a:gd name="connsiteX15-173" fmla="*/ 2176946 w 4228786"/>
                    <a:gd name="connsiteY15-174" fmla="*/ 4110786 h 4110786"/>
                    <a:gd name="connsiteX16-175" fmla="*/ 125105 w 4228786"/>
                    <a:gd name="connsiteY16-176" fmla="*/ 2058946 h 4110786"/>
                    <a:gd name="connsiteX17-177" fmla="*/ 437178 w 4228786"/>
                    <a:gd name="connsiteY17-178" fmla="*/ 2058945 h 4110786"/>
                    <a:gd name="connsiteX18-179" fmla="*/ 2176945 w 4228786"/>
                    <a:gd name="connsiteY18-180" fmla="*/ 3798712 h 4110786"/>
                    <a:gd name="connsiteX19-181" fmla="*/ 3916711 w 4228786"/>
                    <a:gd name="connsiteY19-182" fmla="*/ 2058945 h 4110786"/>
                    <a:gd name="connsiteX20-183" fmla="*/ 2269473 w 4228786"/>
                    <a:gd name="connsiteY20-184" fmla="*/ 323850 h 4110786"/>
                    <a:gd name="connsiteX21-185" fmla="*/ 2290461 w 4228786"/>
                    <a:gd name="connsiteY21-186" fmla="*/ 323850 h 4110786"/>
                    <a:gd name="connsiteX22-187" fmla="*/ 2295032 w 4228786"/>
                    <a:gd name="connsiteY22-188" fmla="*/ 13068 h 4110786"/>
                    <a:gd name="connsiteX23-189" fmla="*/ 2090436 w 4228786"/>
                    <a:gd name="connsiteY23-190" fmla="*/ 11473 h 4110786"/>
                    <a:gd name="connsiteX24-191" fmla="*/ 2090436 w 4228786"/>
                    <a:gd name="connsiteY24-192" fmla="*/ 323546 h 4110786"/>
                    <a:gd name="connsiteX25-193" fmla="*/ 739525 w 4228786"/>
                    <a:gd name="connsiteY25-194" fmla="*/ 1079241 h 4110786"/>
                    <a:gd name="connsiteX26-195" fmla="*/ 470434 w 4228786"/>
                    <a:gd name="connsiteY26-196" fmla="*/ 920125 h 4110786"/>
                    <a:gd name="connsiteX27-197" fmla="*/ 2090436 w 4228786"/>
                    <a:gd name="connsiteY27-198" fmla="*/ 11473 h 4110786"/>
                    <a:gd name="connsiteX28-199" fmla="*/ 2295224 w 4228786"/>
                    <a:gd name="connsiteY28-200" fmla="*/ 0 h 4110786"/>
                    <a:gd name="connsiteX29-201" fmla="*/ 2295032 w 4228786"/>
                    <a:gd name="connsiteY29-202" fmla="*/ 13068 h 4110786"/>
                    <a:gd name="connsiteX30-203" fmla="*/ 2176946 w 4228786"/>
                    <a:gd name="connsiteY30-204" fmla="*/ 7105 h 4110786"/>
                    <a:gd name="connsiteX31-205" fmla="*/ 2090436 w 4228786"/>
                    <a:gd name="connsiteY31-206" fmla="*/ 11473 h 4110786"/>
                    <a:gd name="connsiteX32-207" fmla="*/ 2090436 w 4228786"/>
                    <a:gd name="connsiteY32-208" fmla="*/ 2381 h 4110786"/>
                    <a:gd name="connsiteX33-209" fmla="*/ 2295224 w 4228786"/>
                    <a:gd name="connsiteY33-210" fmla="*/ 0 h 4110786"/>
                    <a:gd name="connsiteX0-211" fmla="*/ 739525 w 4228786"/>
                    <a:gd name="connsiteY0-212" fmla="*/ 1079241 h 4110786"/>
                    <a:gd name="connsiteX1-213" fmla="*/ 742648 w 4228786"/>
                    <a:gd name="connsiteY1-214" fmla="*/ 1081087 h 4110786"/>
                    <a:gd name="connsiteX2-215" fmla="*/ 647398 w 4228786"/>
                    <a:gd name="connsiteY2-216" fmla="*/ 1235869 h 4110786"/>
                    <a:gd name="connsiteX3-217" fmla="*/ 739525 w 4228786"/>
                    <a:gd name="connsiteY3-218" fmla="*/ 1079241 h 4110786"/>
                    <a:gd name="connsiteX4-219" fmla="*/ 468805 w 4228786"/>
                    <a:gd name="connsiteY4-220" fmla="*/ 919162 h 4110786"/>
                    <a:gd name="connsiteX5-221" fmla="*/ 470434 w 4228786"/>
                    <a:gd name="connsiteY5-222" fmla="*/ 920125 h 4110786"/>
                    <a:gd name="connsiteX6-223" fmla="*/ 468805 w 4228786"/>
                    <a:gd name="connsiteY6-224" fmla="*/ 919162 h 4110786"/>
                    <a:gd name="connsiteX7-225" fmla="*/ 2176945 w 4228786"/>
                    <a:gd name="connsiteY7-226" fmla="*/ 319178 h 4110786"/>
                    <a:gd name="connsiteX8-227" fmla="*/ 2269473 w 4228786"/>
                    <a:gd name="connsiteY8-228" fmla="*/ 323850 h 4110786"/>
                    <a:gd name="connsiteX9-229" fmla="*/ 2090436 w 4228786"/>
                    <a:gd name="connsiteY9-230" fmla="*/ 323850 h 4110786"/>
                    <a:gd name="connsiteX10-231" fmla="*/ 2090436 w 4228786"/>
                    <a:gd name="connsiteY10-232" fmla="*/ 323546 h 4110786"/>
                    <a:gd name="connsiteX11-233" fmla="*/ 2176945 w 4228786"/>
                    <a:gd name="connsiteY11-234" fmla="*/ 319178 h 4110786"/>
                    <a:gd name="connsiteX12-235" fmla="*/ 2295032 w 4228786"/>
                    <a:gd name="connsiteY12-236" fmla="*/ 13068 h 4110786"/>
                    <a:gd name="connsiteX13-237" fmla="*/ 4228786 w 4228786"/>
                    <a:gd name="connsiteY13-238" fmla="*/ 2058946 h 4110786"/>
                    <a:gd name="connsiteX14-239" fmla="*/ 2176946 w 4228786"/>
                    <a:gd name="connsiteY14-240" fmla="*/ 4110786 h 4110786"/>
                    <a:gd name="connsiteX15-241" fmla="*/ 125105 w 4228786"/>
                    <a:gd name="connsiteY15-242" fmla="*/ 2058946 h 4110786"/>
                    <a:gd name="connsiteX16-243" fmla="*/ 437178 w 4228786"/>
                    <a:gd name="connsiteY16-244" fmla="*/ 2058945 h 4110786"/>
                    <a:gd name="connsiteX17-245" fmla="*/ 2176945 w 4228786"/>
                    <a:gd name="connsiteY17-246" fmla="*/ 3798712 h 4110786"/>
                    <a:gd name="connsiteX18-247" fmla="*/ 3916711 w 4228786"/>
                    <a:gd name="connsiteY18-248" fmla="*/ 2058945 h 4110786"/>
                    <a:gd name="connsiteX19-249" fmla="*/ 2269473 w 4228786"/>
                    <a:gd name="connsiteY19-250" fmla="*/ 323850 h 4110786"/>
                    <a:gd name="connsiteX20-251" fmla="*/ 2290461 w 4228786"/>
                    <a:gd name="connsiteY20-252" fmla="*/ 323850 h 4110786"/>
                    <a:gd name="connsiteX21-253" fmla="*/ 2295032 w 4228786"/>
                    <a:gd name="connsiteY21-254" fmla="*/ 13068 h 4110786"/>
                    <a:gd name="connsiteX22-255" fmla="*/ 2090436 w 4228786"/>
                    <a:gd name="connsiteY22-256" fmla="*/ 11473 h 4110786"/>
                    <a:gd name="connsiteX23-257" fmla="*/ 2090436 w 4228786"/>
                    <a:gd name="connsiteY23-258" fmla="*/ 323546 h 4110786"/>
                    <a:gd name="connsiteX24-259" fmla="*/ 739525 w 4228786"/>
                    <a:gd name="connsiteY24-260" fmla="*/ 1079241 h 4110786"/>
                    <a:gd name="connsiteX25-261" fmla="*/ 470434 w 4228786"/>
                    <a:gd name="connsiteY25-262" fmla="*/ 920125 h 4110786"/>
                    <a:gd name="connsiteX26-263" fmla="*/ 2090436 w 4228786"/>
                    <a:gd name="connsiteY26-264" fmla="*/ 11473 h 4110786"/>
                    <a:gd name="connsiteX27-265" fmla="*/ 2295224 w 4228786"/>
                    <a:gd name="connsiteY27-266" fmla="*/ 0 h 4110786"/>
                    <a:gd name="connsiteX28-267" fmla="*/ 2295032 w 4228786"/>
                    <a:gd name="connsiteY28-268" fmla="*/ 13068 h 4110786"/>
                    <a:gd name="connsiteX29-269" fmla="*/ 2176946 w 4228786"/>
                    <a:gd name="connsiteY29-270" fmla="*/ 7105 h 4110786"/>
                    <a:gd name="connsiteX30-271" fmla="*/ 2090436 w 4228786"/>
                    <a:gd name="connsiteY30-272" fmla="*/ 11473 h 4110786"/>
                    <a:gd name="connsiteX31-273" fmla="*/ 2090436 w 4228786"/>
                    <a:gd name="connsiteY31-274" fmla="*/ 2381 h 4110786"/>
                    <a:gd name="connsiteX32-275" fmla="*/ 2295224 w 4228786"/>
                    <a:gd name="connsiteY32-276" fmla="*/ 0 h 4110786"/>
                    <a:gd name="connsiteX0-277" fmla="*/ 739525 w 4228786"/>
                    <a:gd name="connsiteY0-278" fmla="*/ 1079241 h 4110786"/>
                    <a:gd name="connsiteX1-279" fmla="*/ 742648 w 4228786"/>
                    <a:gd name="connsiteY1-280" fmla="*/ 1081087 h 4110786"/>
                    <a:gd name="connsiteX2-281" fmla="*/ 739525 w 4228786"/>
                    <a:gd name="connsiteY2-282" fmla="*/ 1079241 h 4110786"/>
                    <a:gd name="connsiteX3-283" fmla="*/ 468805 w 4228786"/>
                    <a:gd name="connsiteY3-284" fmla="*/ 919162 h 4110786"/>
                    <a:gd name="connsiteX4-285" fmla="*/ 470434 w 4228786"/>
                    <a:gd name="connsiteY4-286" fmla="*/ 920125 h 4110786"/>
                    <a:gd name="connsiteX5-287" fmla="*/ 468805 w 4228786"/>
                    <a:gd name="connsiteY5-288" fmla="*/ 919162 h 4110786"/>
                    <a:gd name="connsiteX6-289" fmla="*/ 2176945 w 4228786"/>
                    <a:gd name="connsiteY6-290" fmla="*/ 319178 h 4110786"/>
                    <a:gd name="connsiteX7-291" fmla="*/ 2269473 w 4228786"/>
                    <a:gd name="connsiteY7-292" fmla="*/ 323850 h 4110786"/>
                    <a:gd name="connsiteX8-293" fmla="*/ 2090436 w 4228786"/>
                    <a:gd name="connsiteY8-294" fmla="*/ 323850 h 4110786"/>
                    <a:gd name="connsiteX9-295" fmla="*/ 2090436 w 4228786"/>
                    <a:gd name="connsiteY9-296" fmla="*/ 323546 h 4110786"/>
                    <a:gd name="connsiteX10-297" fmla="*/ 2176945 w 4228786"/>
                    <a:gd name="connsiteY10-298" fmla="*/ 319178 h 4110786"/>
                    <a:gd name="connsiteX11-299" fmla="*/ 2295032 w 4228786"/>
                    <a:gd name="connsiteY11-300" fmla="*/ 13068 h 4110786"/>
                    <a:gd name="connsiteX12-301" fmla="*/ 4228786 w 4228786"/>
                    <a:gd name="connsiteY12-302" fmla="*/ 2058946 h 4110786"/>
                    <a:gd name="connsiteX13-303" fmla="*/ 2176946 w 4228786"/>
                    <a:gd name="connsiteY13-304" fmla="*/ 4110786 h 4110786"/>
                    <a:gd name="connsiteX14-305" fmla="*/ 125105 w 4228786"/>
                    <a:gd name="connsiteY14-306" fmla="*/ 2058946 h 4110786"/>
                    <a:gd name="connsiteX15-307" fmla="*/ 437178 w 4228786"/>
                    <a:gd name="connsiteY15-308" fmla="*/ 2058945 h 4110786"/>
                    <a:gd name="connsiteX16-309" fmla="*/ 2176945 w 4228786"/>
                    <a:gd name="connsiteY16-310" fmla="*/ 3798712 h 4110786"/>
                    <a:gd name="connsiteX17-311" fmla="*/ 3916711 w 4228786"/>
                    <a:gd name="connsiteY17-312" fmla="*/ 2058945 h 4110786"/>
                    <a:gd name="connsiteX18-313" fmla="*/ 2269473 w 4228786"/>
                    <a:gd name="connsiteY18-314" fmla="*/ 323850 h 4110786"/>
                    <a:gd name="connsiteX19-315" fmla="*/ 2290461 w 4228786"/>
                    <a:gd name="connsiteY19-316" fmla="*/ 323850 h 4110786"/>
                    <a:gd name="connsiteX20-317" fmla="*/ 2295032 w 4228786"/>
                    <a:gd name="connsiteY20-318" fmla="*/ 13068 h 4110786"/>
                    <a:gd name="connsiteX21-319" fmla="*/ 2090436 w 4228786"/>
                    <a:gd name="connsiteY21-320" fmla="*/ 11473 h 4110786"/>
                    <a:gd name="connsiteX22-321" fmla="*/ 2090436 w 4228786"/>
                    <a:gd name="connsiteY22-322" fmla="*/ 323546 h 4110786"/>
                    <a:gd name="connsiteX23-323" fmla="*/ 739525 w 4228786"/>
                    <a:gd name="connsiteY23-324" fmla="*/ 1079241 h 4110786"/>
                    <a:gd name="connsiteX24-325" fmla="*/ 470434 w 4228786"/>
                    <a:gd name="connsiteY24-326" fmla="*/ 920125 h 4110786"/>
                    <a:gd name="connsiteX25-327" fmla="*/ 2090436 w 4228786"/>
                    <a:gd name="connsiteY25-328" fmla="*/ 11473 h 4110786"/>
                    <a:gd name="connsiteX26-329" fmla="*/ 2295224 w 4228786"/>
                    <a:gd name="connsiteY26-330" fmla="*/ 0 h 4110786"/>
                    <a:gd name="connsiteX27-331" fmla="*/ 2295032 w 4228786"/>
                    <a:gd name="connsiteY27-332" fmla="*/ 13068 h 4110786"/>
                    <a:gd name="connsiteX28-333" fmla="*/ 2176946 w 4228786"/>
                    <a:gd name="connsiteY28-334" fmla="*/ 7105 h 4110786"/>
                    <a:gd name="connsiteX29-335" fmla="*/ 2090436 w 4228786"/>
                    <a:gd name="connsiteY29-336" fmla="*/ 11473 h 4110786"/>
                    <a:gd name="connsiteX30-337" fmla="*/ 2090436 w 4228786"/>
                    <a:gd name="connsiteY30-338" fmla="*/ 2381 h 4110786"/>
                    <a:gd name="connsiteX31-339" fmla="*/ 2295224 w 4228786"/>
                    <a:gd name="connsiteY31-340" fmla="*/ 0 h 4110786"/>
                    <a:gd name="connsiteX0-341" fmla="*/ 739525 w 4228786"/>
                    <a:gd name="connsiteY0-342" fmla="*/ 1079241 h 4110786"/>
                    <a:gd name="connsiteX1-343" fmla="*/ 742648 w 4228786"/>
                    <a:gd name="connsiteY1-344" fmla="*/ 1081087 h 4110786"/>
                    <a:gd name="connsiteX2-345" fmla="*/ 739525 w 4228786"/>
                    <a:gd name="connsiteY2-346" fmla="*/ 1079241 h 4110786"/>
                    <a:gd name="connsiteX3-347" fmla="*/ 468805 w 4228786"/>
                    <a:gd name="connsiteY3-348" fmla="*/ 919162 h 4110786"/>
                    <a:gd name="connsiteX4-349" fmla="*/ 470434 w 4228786"/>
                    <a:gd name="connsiteY4-350" fmla="*/ 920125 h 4110786"/>
                    <a:gd name="connsiteX5-351" fmla="*/ 468805 w 4228786"/>
                    <a:gd name="connsiteY5-352" fmla="*/ 919162 h 4110786"/>
                    <a:gd name="connsiteX6-353" fmla="*/ 2176945 w 4228786"/>
                    <a:gd name="connsiteY6-354" fmla="*/ 319178 h 4110786"/>
                    <a:gd name="connsiteX7-355" fmla="*/ 2269473 w 4228786"/>
                    <a:gd name="connsiteY7-356" fmla="*/ 323850 h 4110786"/>
                    <a:gd name="connsiteX8-357" fmla="*/ 2090436 w 4228786"/>
                    <a:gd name="connsiteY8-358" fmla="*/ 323850 h 4110786"/>
                    <a:gd name="connsiteX9-359" fmla="*/ 2090436 w 4228786"/>
                    <a:gd name="connsiteY9-360" fmla="*/ 323546 h 4110786"/>
                    <a:gd name="connsiteX10-361" fmla="*/ 2176945 w 4228786"/>
                    <a:gd name="connsiteY10-362" fmla="*/ 319178 h 4110786"/>
                    <a:gd name="connsiteX11-363" fmla="*/ 2295032 w 4228786"/>
                    <a:gd name="connsiteY11-364" fmla="*/ 13068 h 4110786"/>
                    <a:gd name="connsiteX12-365" fmla="*/ 4228786 w 4228786"/>
                    <a:gd name="connsiteY12-366" fmla="*/ 2058946 h 4110786"/>
                    <a:gd name="connsiteX13-367" fmla="*/ 2176946 w 4228786"/>
                    <a:gd name="connsiteY13-368" fmla="*/ 4110786 h 4110786"/>
                    <a:gd name="connsiteX14-369" fmla="*/ 125105 w 4228786"/>
                    <a:gd name="connsiteY14-370" fmla="*/ 2058946 h 4110786"/>
                    <a:gd name="connsiteX15-371" fmla="*/ 437178 w 4228786"/>
                    <a:gd name="connsiteY15-372" fmla="*/ 2058945 h 4110786"/>
                    <a:gd name="connsiteX16-373" fmla="*/ 2176945 w 4228786"/>
                    <a:gd name="connsiteY16-374" fmla="*/ 3798712 h 4110786"/>
                    <a:gd name="connsiteX17-375" fmla="*/ 3916711 w 4228786"/>
                    <a:gd name="connsiteY17-376" fmla="*/ 2058945 h 4110786"/>
                    <a:gd name="connsiteX18-377" fmla="*/ 2269473 w 4228786"/>
                    <a:gd name="connsiteY18-378" fmla="*/ 323850 h 4110786"/>
                    <a:gd name="connsiteX19-379" fmla="*/ 2290461 w 4228786"/>
                    <a:gd name="connsiteY19-380" fmla="*/ 323850 h 4110786"/>
                    <a:gd name="connsiteX20-381" fmla="*/ 2295032 w 4228786"/>
                    <a:gd name="connsiteY20-382" fmla="*/ 13068 h 4110786"/>
                    <a:gd name="connsiteX21-383" fmla="*/ 2090436 w 4228786"/>
                    <a:gd name="connsiteY21-384" fmla="*/ 11473 h 4110786"/>
                    <a:gd name="connsiteX22-385" fmla="*/ 2090436 w 4228786"/>
                    <a:gd name="connsiteY22-386" fmla="*/ 323546 h 4110786"/>
                    <a:gd name="connsiteX23-387" fmla="*/ 739525 w 4228786"/>
                    <a:gd name="connsiteY23-388" fmla="*/ 1079241 h 4110786"/>
                    <a:gd name="connsiteX24-389" fmla="*/ 470434 w 4228786"/>
                    <a:gd name="connsiteY24-390" fmla="*/ 920125 h 4110786"/>
                    <a:gd name="connsiteX25-391" fmla="*/ 2090436 w 4228786"/>
                    <a:gd name="connsiteY25-392" fmla="*/ 11473 h 4110786"/>
                    <a:gd name="connsiteX26-393" fmla="*/ 2295224 w 4228786"/>
                    <a:gd name="connsiteY26-394" fmla="*/ 0 h 4110786"/>
                    <a:gd name="connsiteX27-395" fmla="*/ 2176946 w 4228786"/>
                    <a:gd name="connsiteY27-396" fmla="*/ 7105 h 4110786"/>
                    <a:gd name="connsiteX28-397" fmla="*/ 2090436 w 4228786"/>
                    <a:gd name="connsiteY28-398" fmla="*/ 11473 h 4110786"/>
                    <a:gd name="connsiteX29-399" fmla="*/ 2090436 w 4228786"/>
                    <a:gd name="connsiteY29-400" fmla="*/ 2381 h 4110786"/>
                    <a:gd name="connsiteX30-401" fmla="*/ 2295224 w 4228786"/>
                    <a:gd name="connsiteY30-402" fmla="*/ 0 h 4110786"/>
                    <a:gd name="connsiteX0-403" fmla="*/ 739525 w 4228949"/>
                    <a:gd name="connsiteY0-404" fmla="*/ 1079241 h 4110786"/>
                    <a:gd name="connsiteX1-405" fmla="*/ 742648 w 4228949"/>
                    <a:gd name="connsiteY1-406" fmla="*/ 1081087 h 4110786"/>
                    <a:gd name="connsiteX2-407" fmla="*/ 739525 w 4228949"/>
                    <a:gd name="connsiteY2-408" fmla="*/ 1079241 h 4110786"/>
                    <a:gd name="connsiteX3-409" fmla="*/ 468805 w 4228949"/>
                    <a:gd name="connsiteY3-410" fmla="*/ 919162 h 4110786"/>
                    <a:gd name="connsiteX4-411" fmla="*/ 470434 w 4228949"/>
                    <a:gd name="connsiteY4-412" fmla="*/ 920125 h 4110786"/>
                    <a:gd name="connsiteX5-413" fmla="*/ 468805 w 4228949"/>
                    <a:gd name="connsiteY5-414" fmla="*/ 919162 h 4110786"/>
                    <a:gd name="connsiteX6-415" fmla="*/ 2176945 w 4228949"/>
                    <a:gd name="connsiteY6-416" fmla="*/ 319178 h 4110786"/>
                    <a:gd name="connsiteX7-417" fmla="*/ 2269473 w 4228949"/>
                    <a:gd name="connsiteY7-418" fmla="*/ 323850 h 4110786"/>
                    <a:gd name="connsiteX8-419" fmla="*/ 2090436 w 4228949"/>
                    <a:gd name="connsiteY8-420" fmla="*/ 323850 h 4110786"/>
                    <a:gd name="connsiteX9-421" fmla="*/ 2090436 w 4228949"/>
                    <a:gd name="connsiteY9-422" fmla="*/ 323546 h 4110786"/>
                    <a:gd name="connsiteX10-423" fmla="*/ 2176945 w 4228949"/>
                    <a:gd name="connsiteY10-424" fmla="*/ 319178 h 4110786"/>
                    <a:gd name="connsiteX11-425" fmla="*/ 2290461 w 4228949"/>
                    <a:gd name="connsiteY11-426" fmla="*/ 323850 h 4110786"/>
                    <a:gd name="connsiteX12-427" fmla="*/ 4228786 w 4228949"/>
                    <a:gd name="connsiteY12-428" fmla="*/ 2058946 h 4110786"/>
                    <a:gd name="connsiteX13-429" fmla="*/ 2176946 w 4228949"/>
                    <a:gd name="connsiteY13-430" fmla="*/ 4110786 h 4110786"/>
                    <a:gd name="connsiteX14-431" fmla="*/ 125105 w 4228949"/>
                    <a:gd name="connsiteY14-432" fmla="*/ 2058946 h 4110786"/>
                    <a:gd name="connsiteX15-433" fmla="*/ 437178 w 4228949"/>
                    <a:gd name="connsiteY15-434" fmla="*/ 2058945 h 4110786"/>
                    <a:gd name="connsiteX16-435" fmla="*/ 2176945 w 4228949"/>
                    <a:gd name="connsiteY16-436" fmla="*/ 3798712 h 4110786"/>
                    <a:gd name="connsiteX17-437" fmla="*/ 3916711 w 4228949"/>
                    <a:gd name="connsiteY17-438" fmla="*/ 2058945 h 4110786"/>
                    <a:gd name="connsiteX18-439" fmla="*/ 2269473 w 4228949"/>
                    <a:gd name="connsiteY18-440" fmla="*/ 323850 h 4110786"/>
                    <a:gd name="connsiteX19-441" fmla="*/ 2290461 w 4228949"/>
                    <a:gd name="connsiteY19-442" fmla="*/ 323850 h 4110786"/>
                    <a:gd name="connsiteX20-443" fmla="*/ 2090436 w 4228949"/>
                    <a:gd name="connsiteY20-444" fmla="*/ 11473 h 4110786"/>
                    <a:gd name="connsiteX21-445" fmla="*/ 2090436 w 4228949"/>
                    <a:gd name="connsiteY21-446" fmla="*/ 323546 h 4110786"/>
                    <a:gd name="connsiteX22-447" fmla="*/ 739525 w 4228949"/>
                    <a:gd name="connsiteY22-448" fmla="*/ 1079241 h 4110786"/>
                    <a:gd name="connsiteX23-449" fmla="*/ 470434 w 4228949"/>
                    <a:gd name="connsiteY23-450" fmla="*/ 920125 h 4110786"/>
                    <a:gd name="connsiteX24-451" fmla="*/ 2090436 w 4228949"/>
                    <a:gd name="connsiteY24-452" fmla="*/ 11473 h 4110786"/>
                    <a:gd name="connsiteX25-453" fmla="*/ 2295224 w 4228949"/>
                    <a:gd name="connsiteY25-454" fmla="*/ 0 h 4110786"/>
                    <a:gd name="connsiteX26-455" fmla="*/ 2176946 w 4228949"/>
                    <a:gd name="connsiteY26-456" fmla="*/ 7105 h 4110786"/>
                    <a:gd name="connsiteX27-457" fmla="*/ 2090436 w 4228949"/>
                    <a:gd name="connsiteY27-458" fmla="*/ 11473 h 4110786"/>
                    <a:gd name="connsiteX28-459" fmla="*/ 2090436 w 4228949"/>
                    <a:gd name="connsiteY28-460" fmla="*/ 2381 h 4110786"/>
                    <a:gd name="connsiteX29-461" fmla="*/ 2295224 w 4228949"/>
                    <a:gd name="connsiteY29-462" fmla="*/ 0 h 4110786"/>
                    <a:gd name="connsiteX0-463" fmla="*/ 739525 w 4228949"/>
                    <a:gd name="connsiteY0-464" fmla="*/ 1076860 h 4108405"/>
                    <a:gd name="connsiteX1-465" fmla="*/ 742648 w 4228949"/>
                    <a:gd name="connsiteY1-466" fmla="*/ 1078706 h 4108405"/>
                    <a:gd name="connsiteX2-467" fmla="*/ 739525 w 4228949"/>
                    <a:gd name="connsiteY2-468" fmla="*/ 1076860 h 4108405"/>
                    <a:gd name="connsiteX3-469" fmla="*/ 468805 w 4228949"/>
                    <a:gd name="connsiteY3-470" fmla="*/ 916781 h 4108405"/>
                    <a:gd name="connsiteX4-471" fmla="*/ 470434 w 4228949"/>
                    <a:gd name="connsiteY4-472" fmla="*/ 917744 h 4108405"/>
                    <a:gd name="connsiteX5-473" fmla="*/ 468805 w 4228949"/>
                    <a:gd name="connsiteY5-474" fmla="*/ 916781 h 4108405"/>
                    <a:gd name="connsiteX6-475" fmla="*/ 2176945 w 4228949"/>
                    <a:gd name="connsiteY6-476" fmla="*/ 316797 h 4108405"/>
                    <a:gd name="connsiteX7-477" fmla="*/ 2269473 w 4228949"/>
                    <a:gd name="connsiteY7-478" fmla="*/ 321469 h 4108405"/>
                    <a:gd name="connsiteX8-479" fmla="*/ 2090436 w 4228949"/>
                    <a:gd name="connsiteY8-480" fmla="*/ 321469 h 4108405"/>
                    <a:gd name="connsiteX9-481" fmla="*/ 2090436 w 4228949"/>
                    <a:gd name="connsiteY9-482" fmla="*/ 321165 h 4108405"/>
                    <a:gd name="connsiteX10-483" fmla="*/ 2176945 w 4228949"/>
                    <a:gd name="connsiteY10-484" fmla="*/ 316797 h 4108405"/>
                    <a:gd name="connsiteX11-485" fmla="*/ 2290461 w 4228949"/>
                    <a:gd name="connsiteY11-486" fmla="*/ 321469 h 4108405"/>
                    <a:gd name="connsiteX12-487" fmla="*/ 4228786 w 4228949"/>
                    <a:gd name="connsiteY12-488" fmla="*/ 2056565 h 4108405"/>
                    <a:gd name="connsiteX13-489" fmla="*/ 2176946 w 4228949"/>
                    <a:gd name="connsiteY13-490" fmla="*/ 4108405 h 4108405"/>
                    <a:gd name="connsiteX14-491" fmla="*/ 125105 w 4228949"/>
                    <a:gd name="connsiteY14-492" fmla="*/ 2056565 h 4108405"/>
                    <a:gd name="connsiteX15-493" fmla="*/ 437178 w 4228949"/>
                    <a:gd name="connsiteY15-494" fmla="*/ 2056564 h 4108405"/>
                    <a:gd name="connsiteX16-495" fmla="*/ 2176945 w 4228949"/>
                    <a:gd name="connsiteY16-496" fmla="*/ 3796331 h 4108405"/>
                    <a:gd name="connsiteX17-497" fmla="*/ 3916711 w 4228949"/>
                    <a:gd name="connsiteY17-498" fmla="*/ 2056564 h 4108405"/>
                    <a:gd name="connsiteX18-499" fmla="*/ 2269473 w 4228949"/>
                    <a:gd name="connsiteY18-500" fmla="*/ 321469 h 4108405"/>
                    <a:gd name="connsiteX19-501" fmla="*/ 2290461 w 4228949"/>
                    <a:gd name="connsiteY19-502" fmla="*/ 321469 h 4108405"/>
                    <a:gd name="connsiteX20-503" fmla="*/ 2090436 w 4228949"/>
                    <a:gd name="connsiteY20-504" fmla="*/ 9092 h 4108405"/>
                    <a:gd name="connsiteX21-505" fmla="*/ 2090436 w 4228949"/>
                    <a:gd name="connsiteY21-506" fmla="*/ 321165 h 4108405"/>
                    <a:gd name="connsiteX22-507" fmla="*/ 739525 w 4228949"/>
                    <a:gd name="connsiteY22-508" fmla="*/ 1076860 h 4108405"/>
                    <a:gd name="connsiteX23-509" fmla="*/ 470434 w 4228949"/>
                    <a:gd name="connsiteY23-510" fmla="*/ 917744 h 4108405"/>
                    <a:gd name="connsiteX24-511" fmla="*/ 2090436 w 4228949"/>
                    <a:gd name="connsiteY24-512" fmla="*/ 9092 h 4108405"/>
                    <a:gd name="connsiteX25-513" fmla="*/ 2090436 w 4228949"/>
                    <a:gd name="connsiteY25-514" fmla="*/ 0 h 4108405"/>
                    <a:gd name="connsiteX26-515" fmla="*/ 2176946 w 4228949"/>
                    <a:gd name="connsiteY26-516" fmla="*/ 4724 h 4108405"/>
                    <a:gd name="connsiteX27-517" fmla="*/ 2090436 w 4228949"/>
                    <a:gd name="connsiteY27-518" fmla="*/ 9092 h 4108405"/>
                    <a:gd name="connsiteX28-519" fmla="*/ 2090436 w 4228949"/>
                    <a:gd name="connsiteY28-520" fmla="*/ 0 h 4108405"/>
                    <a:gd name="connsiteX0-521" fmla="*/ 739525 w 4228949"/>
                    <a:gd name="connsiteY0-522" fmla="*/ 1076860 h 4108405"/>
                    <a:gd name="connsiteX1-523" fmla="*/ 742648 w 4228949"/>
                    <a:gd name="connsiteY1-524" fmla="*/ 1078706 h 4108405"/>
                    <a:gd name="connsiteX2-525" fmla="*/ 739525 w 4228949"/>
                    <a:gd name="connsiteY2-526" fmla="*/ 1076860 h 4108405"/>
                    <a:gd name="connsiteX3-527" fmla="*/ 468805 w 4228949"/>
                    <a:gd name="connsiteY3-528" fmla="*/ 916781 h 4108405"/>
                    <a:gd name="connsiteX4-529" fmla="*/ 470434 w 4228949"/>
                    <a:gd name="connsiteY4-530" fmla="*/ 917744 h 4108405"/>
                    <a:gd name="connsiteX5-531" fmla="*/ 468805 w 4228949"/>
                    <a:gd name="connsiteY5-532" fmla="*/ 916781 h 4108405"/>
                    <a:gd name="connsiteX6-533" fmla="*/ 2176945 w 4228949"/>
                    <a:gd name="connsiteY6-534" fmla="*/ 316797 h 4108405"/>
                    <a:gd name="connsiteX7-535" fmla="*/ 2269473 w 4228949"/>
                    <a:gd name="connsiteY7-536" fmla="*/ 321469 h 4108405"/>
                    <a:gd name="connsiteX8-537" fmla="*/ 2090436 w 4228949"/>
                    <a:gd name="connsiteY8-538" fmla="*/ 321469 h 4108405"/>
                    <a:gd name="connsiteX9-539" fmla="*/ 2090436 w 4228949"/>
                    <a:gd name="connsiteY9-540" fmla="*/ 321165 h 4108405"/>
                    <a:gd name="connsiteX10-541" fmla="*/ 2176945 w 4228949"/>
                    <a:gd name="connsiteY10-542" fmla="*/ 316797 h 4108405"/>
                    <a:gd name="connsiteX11-543" fmla="*/ 2290461 w 4228949"/>
                    <a:gd name="connsiteY11-544" fmla="*/ 321469 h 4108405"/>
                    <a:gd name="connsiteX12-545" fmla="*/ 4228786 w 4228949"/>
                    <a:gd name="connsiteY12-546" fmla="*/ 2056565 h 4108405"/>
                    <a:gd name="connsiteX13-547" fmla="*/ 2176946 w 4228949"/>
                    <a:gd name="connsiteY13-548" fmla="*/ 4108405 h 4108405"/>
                    <a:gd name="connsiteX14-549" fmla="*/ 125105 w 4228949"/>
                    <a:gd name="connsiteY14-550" fmla="*/ 2056565 h 4108405"/>
                    <a:gd name="connsiteX15-551" fmla="*/ 437178 w 4228949"/>
                    <a:gd name="connsiteY15-552" fmla="*/ 2056564 h 4108405"/>
                    <a:gd name="connsiteX16-553" fmla="*/ 2176945 w 4228949"/>
                    <a:gd name="connsiteY16-554" fmla="*/ 3796331 h 4108405"/>
                    <a:gd name="connsiteX17-555" fmla="*/ 3916711 w 4228949"/>
                    <a:gd name="connsiteY17-556" fmla="*/ 2056564 h 4108405"/>
                    <a:gd name="connsiteX18-557" fmla="*/ 2269473 w 4228949"/>
                    <a:gd name="connsiteY18-558" fmla="*/ 321469 h 4108405"/>
                    <a:gd name="connsiteX19-559" fmla="*/ 2290461 w 4228949"/>
                    <a:gd name="connsiteY19-560" fmla="*/ 321469 h 4108405"/>
                    <a:gd name="connsiteX20-561" fmla="*/ 2090436 w 4228949"/>
                    <a:gd name="connsiteY20-562" fmla="*/ 9092 h 4108405"/>
                    <a:gd name="connsiteX21-563" fmla="*/ 2090436 w 4228949"/>
                    <a:gd name="connsiteY21-564" fmla="*/ 321165 h 4108405"/>
                    <a:gd name="connsiteX22-565" fmla="*/ 739525 w 4228949"/>
                    <a:gd name="connsiteY22-566" fmla="*/ 1076860 h 4108405"/>
                    <a:gd name="connsiteX23-567" fmla="*/ 470434 w 4228949"/>
                    <a:gd name="connsiteY23-568" fmla="*/ 917744 h 4108405"/>
                    <a:gd name="connsiteX24-569" fmla="*/ 2090436 w 4228949"/>
                    <a:gd name="connsiteY24-570" fmla="*/ 9092 h 4108405"/>
                    <a:gd name="connsiteX25-571" fmla="*/ 2090436 w 4228949"/>
                    <a:gd name="connsiteY25-572" fmla="*/ 0 h 4108405"/>
                    <a:gd name="connsiteX26-573" fmla="*/ 2090436 w 4228949"/>
                    <a:gd name="connsiteY26-574" fmla="*/ 9092 h 4108405"/>
                    <a:gd name="connsiteX27-575" fmla="*/ 2090436 w 4228949"/>
                    <a:gd name="connsiteY27-576" fmla="*/ 0 h 4108405"/>
                    <a:gd name="connsiteX0-577" fmla="*/ 739525 w 4228925"/>
                    <a:gd name="connsiteY0-578" fmla="*/ 1076860 h 4108405"/>
                    <a:gd name="connsiteX1-579" fmla="*/ 742648 w 4228925"/>
                    <a:gd name="connsiteY1-580" fmla="*/ 1078706 h 4108405"/>
                    <a:gd name="connsiteX2-581" fmla="*/ 739525 w 4228925"/>
                    <a:gd name="connsiteY2-582" fmla="*/ 1076860 h 4108405"/>
                    <a:gd name="connsiteX3-583" fmla="*/ 468805 w 4228925"/>
                    <a:gd name="connsiteY3-584" fmla="*/ 916781 h 4108405"/>
                    <a:gd name="connsiteX4-585" fmla="*/ 470434 w 4228925"/>
                    <a:gd name="connsiteY4-586" fmla="*/ 917744 h 4108405"/>
                    <a:gd name="connsiteX5-587" fmla="*/ 468805 w 4228925"/>
                    <a:gd name="connsiteY5-588" fmla="*/ 916781 h 4108405"/>
                    <a:gd name="connsiteX6-589" fmla="*/ 2176945 w 4228925"/>
                    <a:gd name="connsiteY6-590" fmla="*/ 316797 h 4108405"/>
                    <a:gd name="connsiteX7-591" fmla="*/ 2269473 w 4228925"/>
                    <a:gd name="connsiteY7-592" fmla="*/ 321469 h 4108405"/>
                    <a:gd name="connsiteX8-593" fmla="*/ 2090436 w 4228925"/>
                    <a:gd name="connsiteY8-594" fmla="*/ 321469 h 4108405"/>
                    <a:gd name="connsiteX9-595" fmla="*/ 2090436 w 4228925"/>
                    <a:gd name="connsiteY9-596" fmla="*/ 321165 h 4108405"/>
                    <a:gd name="connsiteX10-597" fmla="*/ 2176945 w 4228925"/>
                    <a:gd name="connsiteY10-598" fmla="*/ 316797 h 4108405"/>
                    <a:gd name="connsiteX11-599" fmla="*/ 2290461 w 4228925"/>
                    <a:gd name="connsiteY11-600" fmla="*/ 321469 h 4108405"/>
                    <a:gd name="connsiteX12-601" fmla="*/ 4228786 w 4228925"/>
                    <a:gd name="connsiteY12-602" fmla="*/ 2056565 h 4108405"/>
                    <a:gd name="connsiteX13-603" fmla="*/ 2176946 w 4228925"/>
                    <a:gd name="connsiteY13-604" fmla="*/ 4108405 h 4108405"/>
                    <a:gd name="connsiteX14-605" fmla="*/ 125105 w 4228925"/>
                    <a:gd name="connsiteY14-606" fmla="*/ 2056565 h 4108405"/>
                    <a:gd name="connsiteX15-607" fmla="*/ 437178 w 4228925"/>
                    <a:gd name="connsiteY15-608" fmla="*/ 2056564 h 4108405"/>
                    <a:gd name="connsiteX16-609" fmla="*/ 2176945 w 4228925"/>
                    <a:gd name="connsiteY16-610" fmla="*/ 3796331 h 4108405"/>
                    <a:gd name="connsiteX17-611" fmla="*/ 3916711 w 4228925"/>
                    <a:gd name="connsiteY17-612" fmla="*/ 2056564 h 4108405"/>
                    <a:gd name="connsiteX18-613" fmla="*/ 2290461 w 4228925"/>
                    <a:gd name="connsiteY18-614" fmla="*/ 321469 h 4108405"/>
                    <a:gd name="connsiteX19-615" fmla="*/ 2090436 w 4228925"/>
                    <a:gd name="connsiteY19-616" fmla="*/ 9092 h 4108405"/>
                    <a:gd name="connsiteX20-617" fmla="*/ 2090436 w 4228925"/>
                    <a:gd name="connsiteY20-618" fmla="*/ 321165 h 4108405"/>
                    <a:gd name="connsiteX21-619" fmla="*/ 739525 w 4228925"/>
                    <a:gd name="connsiteY21-620" fmla="*/ 1076860 h 4108405"/>
                    <a:gd name="connsiteX22-621" fmla="*/ 470434 w 4228925"/>
                    <a:gd name="connsiteY22-622" fmla="*/ 917744 h 4108405"/>
                    <a:gd name="connsiteX23-623" fmla="*/ 2090436 w 4228925"/>
                    <a:gd name="connsiteY23-624" fmla="*/ 9092 h 4108405"/>
                    <a:gd name="connsiteX24-625" fmla="*/ 2090436 w 4228925"/>
                    <a:gd name="connsiteY24-626" fmla="*/ 0 h 4108405"/>
                    <a:gd name="connsiteX25-627" fmla="*/ 2090436 w 4228925"/>
                    <a:gd name="connsiteY25-628" fmla="*/ 9092 h 4108405"/>
                    <a:gd name="connsiteX26-629" fmla="*/ 2090436 w 4228925"/>
                    <a:gd name="connsiteY26-630" fmla="*/ 0 h 4108405"/>
                    <a:gd name="connsiteX0-631" fmla="*/ 739525 w 4228925"/>
                    <a:gd name="connsiteY0-632" fmla="*/ 1076860 h 4108405"/>
                    <a:gd name="connsiteX1-633" fmla="*/ 742648 w 4228925"/>
                    <a:gd name="connsiteY1-634" fmla="*/ 1078706 h 4108405"/>
                    <a:gd name="connsiteX2-635" fmla="*/ 739525 w 4228925"/>
                    <a:gd name="connsiteY2-636" fmla="*/ 1076860 h 4108405"/>
                    <a:gd name="connsiteX3-637" fmla="*/ 468805 w 4228925"/>
                    <a:gd name="connsiteY3-638" fmla="*/ 916781 h 4108405"/>
                    <a:gd name="connsiteX4-639" fmla="*/ 470434 w 4228925"/>
                    <a:gd name="connsiteY4-640" fmla="*/ 917744 h 4108405"/>
                    <a:gd name="connsiteX5-641" fmla="*/ 468805 w 4228925"/>
                    <a:gd name="connsiteY5-642" fmla="*/ 916781 h 4108405"/>
                    <a:gd name="connsiteX6-643" fmla="*/ 2176945 w 4228925"/>
                    <a:gd name="connsiteY6-644" fmla="*/ 316797 h 4108405"/>
                    <a:gd name="connsiteX7-645" fmla="*/ 2090436 w 4228925"/>
                    <a:gd name="connsiteY7-646" fmla="*/ 321469 h 4108405"/>
                    <a:gd name="connsiteX8-647" fmla="*/ 2090436 w 4228925"/>
                    <a:gd name="connsiteY8-648" fmla="*/ 321165 h 4108405"/>
                    <a:gd name="connsiteX9-649" fmla="*/ 2176945 w 4228925"/>
                    <a:gd name="connsiteY9-650" fmla="*/ 316797 h 4108405"/>
                    <a:gd name="connsiteX10-651" fmla="*/ 2290461 w 4228925"/>
                    <a:gd name="connsiteY10-652" fmla="*/ 321469 h 4108405"/>
                    <a:gd name="connsiteX11-653" fmla="*/ 4228786 w 4228925"/>
                    <a:gd name="connsiteY11-654" fmla="*/ 2056565 h 4108405"/>
                    <a:gd name="connsiteX12-655" fmla="*/ 2176946 w 4228925"/>
                    <a:gd name="connsiteY12-656" fmla="*/ 4108405 h 4108405"/>
                    <a:gd name="connsiteX13-657" fmla="*/ 125105 w 4228925"/>
                    <a:gd name="connsiteY13-658" fmla="*/ 2056565 h 4108405"/>
                    <a:gd name="connsiteX14-659" fmla="*/ 437178 w 4228925"/>
                    <a:gd name="connsiteY14-660" fmla="*/ 2056564 h 4108405"/>
                    <a:gd name="connsiteX15-661" fmla="*/ 2176945 w 4228925"/>
                    <a:gd name="connsiteY15-662" fmla="*/ 3796331 h 4108405"/>
                    <a:gd name="connsiteX16-663" fmla="*/ 3916711 w 4228925"/>
                    <a:gd name="connsiteY16-664" fmla="*/ 2056564 h 4108405"/>
                    <a:gd name="connsiteX17-665" fmla="*/ 2290461 w 4228925"/>
                    <a:gd name="connsiteY17-666" fmla="*/ 321469 h 4108405"/>
                    <a:gd name="connsiteX18-667" fmla="*/ 2090436 w 4228925"/>
                    <a:gd name="connsiteY18-668" fmla="*/ 9092 h 4108405"/>
                    <a:gd name="connsiteX19-669" fmla="*/ 2090436 w 4228925"/>
                    <a:gd name="connsiteY19-670" fmla="*/ 321165 h 4108405"/>
                    <a:gd name="connsiteX20-671" fmla="*/ 739525 w 4228925"/>
                    <a:gd name="connsiteY20-672" fmla="*/ 1076860 h 4108405"/>
                    <a:gd name="connsiteX21-673" fmla="*/ 470434 w 4228925"/>
                    <a:gd name="connsiteY21-674" fmla="*/ 917744 h 4108405"/>
                    <a:gd name="connsiteX22-675" fmla="*/ 2090436 w 4228925"/>
                    <a:gd name="connsiteY22-676" fmla="*/ 9092 h 4108405"/>
                    <a:gd name="connsiteX23-677" fmla="*/ 2090436 w 4228925"/>
                    <a:gd name="connsiteY23-678" fmla="*/ 0 h 4108405"/>
                    <a:gd name="connsiteX24-679" fmla="*/ 2090436 w 4228925"/>
                    <a:gd name="connsiteY24-680" fmla="*/ 9092 h 4108405"/>
                    <a:gd name="connsiteX25-681" fmla="*/ 2090436 w 4228925"/>
                    <a:gd name="connsiteY25-682" fmla="*/ 0 h 4108405"/>
                    <a:gd name="connsiteX0-683" fmla="*/ 739525 w 4228925"/>
                    <a:gd name="connsiteY0-684" fmla="*/ 1076860 h 4108405"/>
                    <a:gd name="connsiteX1-685" fmla="*/ 742648 w 4228925"/>
                    <a:gd name="connsiteY1-686" fmla="*/ 1078706 h 4108405"/>
                    <a:gd name="connsiteX2-687" fmla="*/ 739525 w 4228925"/>
                    <a:gd name="connsiteY2-688" fmla="*/ 1076860 h 4108405"/>
                    <a:gd name="connsiteX3-689" fmla="*/ 468805 w 4228925"/>
                    <a:gd name="connsiteY3-690" fmla="*/ 916781 h 4108405"/>
                    <a:gd name="connsiteX4-691" fmla="*/ 470434 w 4228925"/>
                    <a:gd name="connsiteY4-692" fmla="*/ 917744 h 4108405"/>
                    <a:gd name="connsiteX5-693" fmla="*/ 468805 w 4228925"/>
                    <a:gd name="connsiteY5-694" fmla="*/ 916781 h 4108405"/>
                    <a:gd name="connsiteX6-695" fmla="*/ 2090436 w 4228925"/>
                    <a:gd name="connsiteY6-696" fmla="*/ 321165 h 4108405"/>
                    <a:gd name="connsiteX7-697" fmla="*/ 2090436 w 4228925"/>
                    <a:gd name="connsiteY7-698" fmla="*/ 321469 h 4108405"/>
                    <a:gd name="connsiteX8-699" fmla="*/ 2090436 w 4228925"/>
                    <a:gd name="connsiteY8-700" fmla="*/ 321165 h 4108405"/>
                    <a:gd name="connsiteX9-701" fmla="*/ 2290461 w 4228925"/>
                    <a:gd name="connsiteY9-702" fmla="*/ 321469 h 4108405"/>
                    <a:gd name="connsiteX10-703" fmla="*/ 4228786 w 4228925"/>
                    <a:gd name="connsiteY10-704" fmla="*/ 2056565 h 4108405"/>
                    <a:gd name="connsiteX11-705" fmla="*/ 2176946 w 4228925"/>
                    <a:gd name="connsiteY11-706" fmla="*/ 4108405 h 4108405"/>
                    <a:gd name="connsiteX12-707" fmla="*/ 125105 w 4228925"/>
                    <a:gd name="connsiteY12-708" fmla="*/ 2056565 h 4108405"/>
                    <a:gd name="connsiteX13-709" fmla="*/ 437178 w 4228925"/>
                    <a:gd name="connsiteY13-710" fmla="*/ 2056564 h 4108405"/>
                    <a:gd name="connsiteX14-711" fmla="*/ 2176945 w 4228925"/>
                    <a:gd name="connsiteY14-712" fmla="*/ 3796331 h 4108405"/>
                    <a:gd name="connsiteX15-713" fmla="*/ 3916711 w 4228925"/>
                    <a:gd name="connsiteY15-714" fmla="*/ 2056564 h 4108405"/>
                    <a:gd name="connsiteX16-715" fmla="*/ 2290461 w 4228925"/>
                    <a:gd name="connsiteY16-716" fmla="*/ 321469 h 4108405"/>
                    <a:gd name="connsiteX17-717" fmla="*/ 2090436 w 4228925"/>
                    <a:gd name="connsiteY17-718" fmla="*/ 9092 h 4108405"/>
                    <a:gd name="connsiteX18-719" fmla="*/ 2090436 w 4228925"/>
                    <a:gd name="connsiteY18-720" fmla="*/ 321165 h 4108405"/>
                    <a:gd name="connsiteX19-721" fmla="*/ 739525 w 4228925"/>
                    <a:gd name="connsiteY19-722" fmla="*/ 1076860 h 4108405"/>
                    <a:gd name="connsiteX20-723" fmla="*/ 470434 w 4228925"/>
                    <a:gd name="connsiteY20-724" fmla="*/ 917744 h 4108405"/>
                    <a:gd name="connsiteX21-725" fmla="*/ 2090436 w 4228925"/>
                    <a:gd name="connsiteY21-726" fmla="*/ 9092 h 4108405"/>
                    <a:gd name="connsiteX22-727" fmla="*/ 2090436 w 4228925"/>
                    <a:gd name="connsiteY22-728" fmla="*/ 0 h 4108405"/>
                    <a:gd name="connsiteX23-729" fmla="*/ 2090436 w 4228925"/>
                    <a:gd name="connsiteY23-730" fmla="*/ 9092 h 4108405"/>
                    <a:gd name="connsiteX24-731" fmla="*/ 2090436 w 4228925"/>
                    <a:gd name="connsiteY24-732" fmla="*/ 0 h 4108405"/>
                    <a:gd name="connsiteX0-733" fmla="*/ 739525 w 4228925"/>
                    <a:gd name="connsiteY0-734" fmla="*/ 1067768 h 4099313"/>
                    <a:gd name="connsiteX1-735" fmla="*/ 742648 w 4228925"/>
                    <a:gd name="connsiteY1-736" fmla="*/ 1069614 h 4099313"/>
                    <a:gd name="connsiteX2-737" fmla="*/ 739525 w 4228925"/>
                    <a:gd name="connsiteY2-738" fmla="*/ 1067768 h 4099313"/>
                    <a:gd name="connsiteX3-739" fmla="*/ 468805 w 4228925"/>
                    <a:gd name="connsiteY3-740" fmla="*/ 907689 h 4099313"/>
                    <a:gd name="connsiteX4-741" fmla="*/ 470434 w 4228925"/>
                    <a:gd name="connsiteY4-742" fmla="*/ 908652 h 4099313"/>
                    <a:gd name="connsiteX5-743" fmla="*/ 468805 w 4228925"/>
                    <a:gd name="connsiteY5-744" fmla="*/ 907689 h 4099313"/>
                    <a:gd name="connsiteX6-745" fmla="*/ 2090436 w 4228925"/>
                    <a:gd name="connsiteY6-746" fmla="*/ 312073 h 4099313"/>
                    <a:gd name="connsiteX7-747" fmla="*/ 2090436 w 4228925"/>
                    <a:gd name="connsiteY7-748" fmla="*/ 312377 h 4099313"/>
                    <a:gd name="connsiteX8-749" fmla="*/ 2090436 w 4228925"/>
                    <a:gd name="connsiteY8-750" fmla="*/ 312073 h 4099313"/>
                    <a:gd name="connsiteX9-751" fmla="*/ 2290461 w 4228925"/>
                    <a:gd name="connsiteY9-752" fmla="*/ 312377 h 4099313"/>
                    <a:gd name="connsiteX10-753" fmla="*/ 4228786 w 4228925"/>
                    <a:gd name="connsiteY10-754" fmla="*/ 2047473 h 4099313"/>
                    <a:gd name="connsiteX11-755" fmla="*/ 2176946 w 4228925"/>
                    <a:gd name="connsiteY11-756" fmla="*/ 4099313 h 4099313"/>
                    <a:gd name="connsiteX12-757" fmla="*/ 125105 w 4228925"/>
                    <a:gd name="connsiteY12-758" fmla="*/ 2047473 h 4099313"/>
                    <a:gd name="connsiteX13-759" fmla="*/ 437178 w 4228925"/>
                    <a:gd name="connsiteY13-760" fmla="*/ 2047472 h 4099313"/>
                    <a:gd name="connsiteX14-761" fmla="*/ 2176945 w 4228925"/>
                    <a:gd name="connsiteY14-762" fmla="*/ 3787239 h 4099313"/>
                    <a:gd name="connsiteX15-763" fmla="*/ 3916711 w 4228925"/>
                    <a:gd name="connsiteY15-764" fmla="*/ 2047472 h 4099313"/>
                    <a:gd name="connsiteX16-765" fmla="*/ 2290461 w 4228925"/>
                    <a:gd name="connsiteY16-766" fmla="*/ 312377 h 4099313"/>
                    <a:gd name="connsiteX17-767" fmla="*/ 2090436 w 4228925"/>
                    <a:gd name="connsiteY17-768" fmla="*/ 0 h 4099313"/>
                    <a:gd name="connsiteX18-769" fmla="*/ 2090436 w 4228925"/>
                    <a:gd name="connsiteY18-770" fmla="*/ 312073 h 4099313"/>
                    <a:gd name="connsiteX19-771" fmla="*/ 739525 w 4228925"/>
                    <a:gd name="connsiteY19-772" fmla="*/ 1067768 h 4099313"/>
                    <a:gd name="connsiteX20-773" fmla="*/ 470434 w 4228925"/>
                    <a:gd name="connsiteY20-774" fmla="*/ 908652 h 4099313"/>
                    <a:gd name="connsiteX21-775" fmla="*/ 2090436 w 4228925"/>
                    <a:gd name="connsiteY21-776" fmla="*/ 0 h 4099313"/>
                    <a:gd name="connsiteX0-777" fmla="*/ 739525 w 4353891"/>
                    <a:gd name="connsiteY0-778" fmla="*/ 1067768 h 4099313"/>
                    <a:gd name="connsiteX1-779" fmla="*/ 742648 w 4353891"/>
                    <a:gd name="connsiteY1-780" fmla="*/ 1069614 h 4099313"/>
                    <a:gd name="connsiteX2-781" fmla="*/ 739525 w 4353891"/>
                    <a:gd name="connsiteY2-782" fmla="*/ 1067768 h 4099313"/>
                    <a:gd name="connsiteX3-783" fmla="*/ 468805 w 4353891"/>
                    <a:gd name="connsiteY3-784" fmla="*/ 907689 h 4099313"/>
                    <a:gd name="connsiteX4-785" fmla="*/ 470434 w 4353891"/>
                    <a:gd name="connsiteY4-786" fmla="*/ 908652 h 4099313"/>
                    <a:gd name="connsiteX5-787" fmla="*/ 468805 w 4353891"/>
                    <a:gd name="connsiteY5-788" fmla="*/ 907689 h 4099313"/>
                    <a:gd name="connsiteX6-789" fmla="*/ 2090436 w 4353891"/>
                    <a:gd name="connsiteY6-790" fmla="*/ 312073 h 4099313"/>
                    <a:gd name="connsiteX7-791" fmla="*/ 2090436 w 4353891"/>
                    <a:gd name="connsiteY7-792" fmla="*/ 312377 h 4099313"/>
                    <a:gd name="connsiteX8-793" fmla="*/ 2090436 w 4353891"/>
                    <a:gd name="connsiteY8-794" fmla="*/ 312073 h 4099313"/>
                    <a:gd name="connsiteX9-795" fmla="*/ 3916711 w 4353891"/>
                    <a:gd name="connsiteY9-796" fmla="*/ 2047472 h 4099313"/>
                    <a:gd name="connsiteX10-797" fmla="*/ 4228786 w 4353891"/>
                    <a:gd name="connsiteY10-798" fmla="*/ 2047473 h 4099313"/>
                    <a:gd name="connsiteX11-799" fmla="*/ 2176946 w 4353891"/>
                    <a:gd name="connsiteY11-800" fmla="*/ 4099313 h 4099313"/>
                    <a:gd name="connsiteX12-801" fmla="*/ 125105 w 4353891"/>
                    <a:gd name="connsiteY12-802" fmla="*/ 2047473 h 4099313"/>
                    <a:gd name="connsiteX13-803" fmla="*/ 437178 w 4353891"/>
                    <a:gd name="connsiteY13-804" fmla="*/ 2047472 h 4099313"/>
                    <a:gd name="connsiteX14-805" fmla="*/ 2176945 w 4353891"/>
                    <a:gd name="connsiteY14-806" fmla="*/ 3787239 h 4099313"/>
                    <a:gd name="connsiteX15-807" fmla="*/ 3916711 w 4353891"/>
                    <a:gd name="connsiteY15-808" fmla="*/ 2047472 h 4099313"/>
                    <a:gd name="connsiteX16-809" fmla="*/ 2090436 w 4353891"/>
                    <a:gd name="connsiteY16-810" fmla="*/ 0 h 4099313"/>
                    <a:gd name="connsiteX17-811" fmla="*/ 2090436 w 4353891"/>
                    <a:gd name="connsiteY17-812" fmla="*/ 312073 h 4099313"/>
                    <a:gd name="connsiteX18-813" fmla="*/ 739525 w 4353891"/>
                    <a:gd name="connsiteY18-814" fmla="*/ 1067768 h 4099313"/>
                    <a:gd name="connsiteX19-815" fmla="*/ 470434 w 4353891"/>
                    <a:gd name="connsiteY19-816" fmla="*/ 908652 h 4099313"/>
                    <a:gd name="connsiteX20-817" fmla="*/ 2090436 w 4353891"/>
                    <a:gd name="connsiteY20-818" fmla="*/ 0 h 4099313"/>
                    <a:gd name="connsiteX0-819" fmla="*/ 614420 w 4228786"/>
                    <a:gd name="connsiteY0-820" fmla="*/ 1067768 h 4099313"/>
                    <a:gd name="connsiteX1-821" fmla="*/ 617543 w 4228786"/>
                    <a:gd name="connsiteY1-822" fmla="*/ 1069614 h 4099313"/>
                    <a:gd name="connsiteX2-823" fmla="*/ 614420 w 4228786"/>
                    <a:gd name="connsiteY2-824" fmla="*/ 1067768 h 4099313"/>
                    <a:gd name="connsiteX3-825" fmla="*/ 343700 w 4228786"/>
                    <a:gd name="connsiteY3-826" fmla="*/ 907689 h 4099313"/>
                    <a:gd name="connsiteX4-827" fmla="*/ 345329 w 4228786"/>
                    <a:gd name="connsiteY4-828" fmla="*/ 908652 h 4099313"/>
                    <a:gd name="connsiteX5-829" fmla="*/ 343700 w 4228786"/>
                    <a:gd name="connsiteY5-830" fmla="*/ 907689 h 4099313"/>
                    <a:gd name="connsiteX6-831" fmla="*/ 1965331 w 4228786"/>
                    <a:gd name="connsiteY6-832" fmla="*/ 312073 h 4099313"/>
                    <a:gd name="connsiteX7-833" fmla="*/ 1965331 w 4228786"/>
                    <a:gd name="connsiteY7-834" fmla="*/ 312377 h 4099313"/>
                    <a:gd name="connsiteX8-835" fmla="*/ 1965331 w 4228786"/>
                    <a:gd name="connsiteY8-836" fmla="*/ 312073 h 4099313"/>
                    <a:gd name="connsiteX9-837" fmla="*/ 3791606 w 4228786"/>
                    <a:gd name="connsiteY9-838" fmla="*/ 2047472 h 4099313"/>
                    <a:gd name="connsiteX10-839" fmla="*/ 4103681 w 4228786"/>
                    <a:gd name="connsiteY10-840" fmla="*/ 2047473 h 4099313"/>
                    <a:gd name="connsiteX11-841" fmla="*/ 2051841 w 4228786"/>
                    <a:gd name="connsiteY11-842" fmla="*/ 4099313 h 4099313"/>
                    <a:gd name="connsiteX12-843" fmla="*/ 0 w 4228786"/>
                    <a:gd name="connsiteY12-844" fmla="*/ 2047473 h 4099313"/>
                    <a:gd name="connsiteX13-845" fmla="*/ 2051840 w 4228786"/>
                    <a:gd name="connsiteY13-846" fmla="*/ 3787239 h 4099313"/>
                    <a:gd name="connsiteX14-847" fmla="*/ 3791606 w 4228786"/>
                    <a:gd name="connsiteY14-848" fmla="*/ 2047472 h 4099313"/>
                    <a:gd name="connsiteX15-849" fmla="*/ 1965331 w 4228786"/>
                    <a:gd name="connsiteY15-850" fmla="*/ 0 h 4099313"/>
                    <a:gd name="connsiteX16-851" fmla="*/ 1965331 w 4228786"/>
                    <a:gd name="connsiteY16-852" fmla="*/ 312073 h 4099313"/>
                    <a:gd name="connsiteX17-853" fmla="*/ 614420 w 4228786"/>
                    <a:gd name="connsiteY17-854" fmla="*/ 1067768 h 4099313"/>
                    <a:gd name="connsiteX18-855" fmla="*/ 345329 w 4228786"/>
                    <a:gd name="connsiteY18-856" fmla="*/ 908652 h 4099313"/>
                    <a:gd name="connsiteX19-857" fmla="*/ 1965331 w 4228786"/>
                    <a:gd name="connsiteY19-858" fmla="*/ 0 h 4099313"/>
                    <a:gd name="connsiteX0-859" fmla="*/ 270720 w 3885086"/>
                    <a:gd name="connsiteY0-860" fmla="*/ 1067768 h 4224418"/>
                    <a:gd name="connsiteX1-861" fmla="*/ 273843 w 3885086"/>
                    <a:gd name="connsiteY1-862" fmla="*/ 1069614 h 4224418"/>
                    <a:gd name="connsiteX2-863" fmla="*/ 270720 w 3885086"/>
                    <a:gd name="connsiteY2-864" fmla="*/ 1067768 h 4224418"/>
                    <a:gd name="connsiteX3-865" fmla="*/ 0 w 3885086"/>
                    <a:gd name="connsiteY3-866" fmla="*/ 907689 h 4224418"/>
                    <a:gd name="connsiteX4-867" fmla="*/ 1629 w 3885086"/>
                    <a:gd name="connsiteY4-868" fmla="*/ 908652 h 4224418"/>
                    <a:gd name="connsiteX5-869" fmla="*/ 0 w 3885086"/>
                    <a:gd name="connsiteY5-870" fmla="*/ 907689 h 4224418"/>
                    <a:gd name="connsiteX6-871" fmla="*/ 1621631 w 3885086"/>
                    <a:gd name="connsiteY6-872" fmla="*/ 312073 h 4224418"/>
                    <a:gd name="connsiteX7-873" fmla="*/ 1621631 w 3885086"/>
                    <a:gd name="connsiteY7-874" fmla="*/ 312377 h 4224418"/>
                    <a:gd name="connsiteX8-875" fmla="*/ 1621631 w 3885086"/>
                    <a:gd name="connsiteY8-876" fmla="*/ 312073 h 4224418"/>
                    <a:gd name="connsiteX9-877" fmla="*/ 3447906 w 3885086"/>
                    <a:gd name="connsiteY9-878" fmla="*/ 2047472 h 4224418"/>
                    <a:gd name="connsiteX10-879" fmla="*/ 3759981 w 3885086"/>
                    <a:gd name="connsiteY10-880" fmla="*/ 2047473 h 4224418"/>
                    <a:gd name="connsiteX11-881" fmla="*/ 1708141 w 3885086"/>
                    <a:gd name="connsiteY11-882" fmla="*/ 4099313 h 4224418"/>
                    <a:gd name="connsiteX12-883" fmla="*/ 1708140 w 3885086"/>
                    <a:gd name="connsiteY12-884" fmla="*/ 3787239 h 4224418"/>
                    <a:gd name="connsiteX13-885" fmla="*/ 3447906 w 3885086"/>
                    <a:gd name="connsiteY13-886" fmla="*/ 2047472 h 4224418"/>
                    <a:gd name="connsiteX14-887" fmla="*/ 1621631 w 3885086"/>
                    <a:gd name="connsiteY14-888" fmla="*/ 0 h 4224418"/>
                    <a:gd name="connsiteX15-889" fmla="*/ 1621631 w 3885086"/>
                    <a:gd name="connsiteY15-890" fmla="*/ 312073 h 4224418"/>
                    <a:gd name="connsiteX16-891" fmla="*/ 270720 w 3885086"/>
                    <a:gd name="connsiteY16-892" fmla="*/ 1067768 h 4224418"/>
                    <a:gd name="connsiteX17-893" fmla="*/ 1629 w 3885086"/>
                    <a:gd name="connsiteY17-894" fmla="*/ 908652 h 4224418"/>
                    <a:gd name="connsiteX18-895" fmla="*/ 1621631 w 3885086"/>
                    <a:gd name="connsiteY18-896" fmla="*/ 0 h 4224418"/>
                    <a:gd name="connsiteX0-897" fmla="*/ 270720 w 3885086"/>
                    <a:gd name="connsiteY0-898" fmla="*/ 1067768 h 4099313"/>
                    <a:gd name="connsiteX1-899" fmla="*/ 273843 w 3885086"/>
                    <a:gd name="connsiteY1-900" fmla="*/ 1069614 h 4099313"/>
                    <a:gd name="connsiteX2-901" fmla="*/ 270720 w 3885086"/>
                    <a:gd name="connsiteY2-902" fmla="*/ 1067768 h 4099313"/>
                    <a:gd name="connsiteX3-903" fmla="*/ 0 w 3885086"/>
                    <a:gd name="connsiteY3-904" fmla="*/ 907689 h 4099313"/>
                    <a:gd name="connsiteX4-905" fmla="*/ 1629 w 3885086"/>
                    <a:gd name="connsiteY4-906" fmla="*/ 908652 h 4099313"/>
                    <a:gd name="connsiteX5-907" fmla="*/ 0 w 3885086"/>
                    <a:gd name="connsiteY5-908" fmla="*/ 907689 h 4099313"/>
                    <a:gd name="connsiteX6-909" fmla="*/ 1621631 w 3885086"/>
                    <a:gd name="connsiteY6-910" fmla="*/ 312073 h 4099313"/>
                    <a:gd name="connsiteX7-911" fmla="*/ 1621631 w 3885086"/>
                    <a:gd name="connsiteY7-912" fmla="*/ 312377 h 4099313"/>
                    <a:gd name="connsiteX8-913" fmla="*/ 1621631 w 3885086"/>
                    <a:gd name="connsiteY8-914" fmla="*/ 312073 h 4099313"/>
                    <a:gd name="connsiteX9-915" fmla="*/ 3447906 w 3885086"/>
                    <a:gd name="connsiteY9-916" fmla="*/ 2047472 h 4099313"/>
                    <a:gd name="connsiteX10-917" fmla="*/ 3759981 w 3885086"/>
                    <a:gd name="connsiteY10-918" fmla="*/ 2047473 h 4099313"/>
                    <a:gd name="connsiteX11-919" fmla="*/ 1708141 w 3885086"/>
                    <a:gd name="connsiteY11-920" fmla="*/ 4099313 h 4099313"/>
                    <a:gd name="connsiteX12-921" fmla="*/ 3447906 w 3885086"/>
                    <a:gd name="connsiteY12-922" fmla="*/ 2047472 h 4099313"/>
                    <a:gd name="connsiteX13-923" fmla="*/ 1621631 w 3885086"/>
                    <a:gd name="connsiteY13-924" fmla="*/ 0 h 4099313"/>
                    <a:gd name="connsiteX14-925" fmla="*/ 1621631 w 3885086"/>
                    <a:gd name="connsiteY14-926" fmla="*/ 312073 h 4099313"/>
                    <a:gd name="connsiteX15-927" fmla="*/ 270720 w 3885086"/>
                    <a:gd name="connsiteY15-928" fmla="*/ 1067768 h 4099313"/>
                    <a:gd name="connsiteX16-929" fmla="*/ 1629 w 3885086"/>
                    <a:gd name="connsiteY16-930" fmla="*/ 908652 h 4099313"/>
                    <a:gd name="connsiteX17-931" fmla="*/ 1621631 w 3885086"/>
                    <a:gd name="connsiteY17-932" fmla="*/ 0 h 4099313"/>
                    <a:gd name="connsiteX0-933" fmla="*/ 270720 w 3760643"/>
                    <a:gd name="connsiteY0-934" fmla="*/ 1067768 h 2047473"/>
                    <a:gd name="connsiteX1-935" fmla="*/ 273843 w 3760643"/>
                    <a:gd name="connsiteY1-936" fmla="*/ 1069614 h 2047473"/>
                    <a:gd name="connsiteX2-937" fmla="*/ 270720 w 3760643"/>
                    <a:gd name="connsiteY2-938" fmla="*/ 1067768 h 2047473"/>
                    <a:gd name="connsiteX3-939" fmla="*/ 0 w 3760643"/>
                    <a:gd name="connsiteY3-940" fmla="*/ 907689 h 2047473"/>
                    <a:gd name="connsiteX4-941" fmla="*/ 1629 w 3760643"/>
                    <a:gd name="connsiteY4-942" fmla="*/ 908652 h 2047473"/>
                    <a:gd name="connsiteX5-943" fmla="*/ 0 w 3760643"/>
                    <a:gd name="connsiteY5-944" fmla="*/ 907689 h 2047473"/>
                    <a:gd name="connsiteX6-945" fmla="*/ 1621631 w 3760643"/>
                    <a:gd name="connsiteY6-946" fmla="*/ 312073 h 2047473"/>
                    <a:gd name="connsiteX7-947" fmla="*/ 1621631 w 3760643"/>
                    <a:gd name="connsiteY7-948" fmla="*/ 312377 h 2047473"/>
                    <a:gd name="connsiteX8-949" fmla="*/ 1621631 w 3760643"/>
                    <a:gd name="connsiteY8-950" fmla="*/ 312073 h 2047473"/>
                    <a:gd name="connsiteX9-951" fmla="*/ 3447906 w 3760643"/>
                    <a:gd name="connsiteY9-952" fmla="*/ 2047472 h 2047473"/>
                    <a:gd name="connsiteX10-953" fmla="*/ 3759981 w 3760643"/>
                    <a:gd name="connsiteY10-954" fmla="*/ 2047473 h 2047473"/>
                    <a:gd name="connsiteX11-955" fmla="*/ 3447906 w 3760643"/>
                    <a:gd name="connsiteY11-956" fmla="*/ 2047472 h 2047473"/>
                    <a:gd name="connsiteX12-957" fmla="*/ 1621631 w 3760643"/>
                    <a:gd name="connsiteY12-958" fmla="*/ 0 h 2047473"/>
                    <a:gd name="connsiteX13-959" fmla="*/ 1621631 w 3760643"/>
                    <a:gd name="connsiteY13-960" fmla="*/ 312073 h 2047473"/>
                    <a:gd name="connsiteX14-961" fmla="*/ 270720 w 3760643"/>
                    <a:gd name="connsiteY14-962" fmla="*/ 1067768 h 2047473"/>
                    <a:gd name="connsiteX15-963" fmla="*/ 1629 w 3760643"/>
                    <a:gd name="connsiteY15-964" fmla="*/ 908652 h 2047473"/>
                    <a:gd name="connsiteX16-965" fmla="*/ 1621631 w 3760643"/>
                    <a:gd name="connsiteY16-966" fmla="*/ 0 h 2047473"/>
                    <a:gd name="connsiteX0-967" fmla="*/ 270720 w 1621631"/>
                    <a:gd name="connsiteY0-968" fmla="*/ 1067768 h 1069614"/>
                    <a:gd name="connsiteX1-969" fmla="*/ 273843 w 1621631"/>
                    <a:gd name="connsiteY1-970" fmla="*/ 1069614 h 1069614"/>
                    <a:gd name="connsiteX2-971" fmla="*/ 270720 w 1621631"/>
                    <a:gd name="connsiteY2-972" fmla="*/ 1067768 h 1069614"/>
                    <a:gd name="connsiteX3-973" fmla="*/ 0 w 1621631"/>
                    <a:gd name="connsiteY3-974" fmla="*/ 907689 h 1069614"/>
                    <a:gd name="connsiteX4-975" fmla="*/ 1629 w 1621631"/>
                    <a:gd name="connsiteY4-976" fmla="*/ 908652 h 1069614"/>
                    <a:gd name="connsiteX5-977" fmla="*/ 0 w 1621631"/>
                    <a:gd name="connsiteY5-978" fmla="*/ 907689 h 1069614"/>
                    <a:gd name="connsiteX6-979" fmla="*/ 1621631 w 1621631"/>
                    <a:gd name="connsiteY6-980" fmla="*/ 312073 h 1069614"/>
                    <a:gd name="connsiteX7-981" fmla="*/ 1621631 w 1621631"/>
                    <a:gd name="connsiteY7-982" fmla="*/ 312377 h 1069614"/>
                    <a:gd name="connsiteX8-983" fmla="*/ 1621631 w 1621631"/>
                    <a:gd name="connsiteY8-984" fmla="*/ 312073 h 1069614"/>
                    <a:gd name="connsiteX9-985" fmla="*/ 1621631 w 1621631"/>
                    <a:gd name="connsiteY9-986" fmla="*/ 0 h 1069614"/>
                    <a:gd name="connsiteX10-987" fmla="*/ 1621631 w 1621631"/>
                    <a:gd name="connsiteY10-988" fmla="*/ 312073 h 1069614"/>
                    <a:gd name="connsiteX11-989" fmla="*/ 270720 w 1621631"/>
                    <a:gd name="connsiteY11-990" fmla="*/ 1067768 h 1069614"/>
                    <a:gd name="connsiteX12-991" fmla="*/ 1629 w 1621631"/>
                    <a:gd name="connsiteY12-992" fmla="*/ 908652 h 1069614"/>
                    <a:gd name="connsiteX13-993" fmla="*/ 1621631 w 1621631"/>
                    <a:gd name="connsiteY13-994" fmla="*/ 0 h 1069614"/>
                  </a:gdLst>
                  <a:ahLst/>
                  <a:cxnLst>
                    <a:cxn ang="0">
                      <a:pos x="connsiteX0-1" y="connsiteY0-2"/>
                    </a:cxn>
                    <a:cxn ang="0">
                      <a:pos x="connsiteX1-3" y="connsiteY1-4"/>
                    </a:cxn>
                    <a:cxn ang="0">
                      <a:pos x="connsiteX2-5" y="connsiteY2-6"/>
                    </a:cxn>
                    <a:cxn ang="0">
                      <a:pos x="connsiteX3-7" y="connsiteY3-8"/>
                    </a:cxn>
                    <a:cxn ang="0">
                      <a:pos x="connsiteX4-9" y="connsiteY4-10"/>
                    </a:cxn>
                    <a:cxn ang="0">
                      <a:pos x="connsiteX5-11" y="connsiteY5-12"/>
                    </a:cxn>
                    <a:cxn ang="0">
                      <a:pos x="connsiteX6-13" y="connsiteY6-14"/>
                    </a:cxn>
                    <a:cxn ang="0">
                      <a:pos x="connsiteX7-15" y="connsiteY7-16"/>
                    </a:cxn>
                    <a:cxn ang="0">
                      <a:pos x="connsiteX8-17" y="connsiteY8-18"/>
                    </a:cxn>
                    <a:cxn ang="0">
                      <a:pos x="connsiteX9-19" y="connsiteY9-20"/>
                    </a:cxn>
                    <a:cxn ang="0">
                      <a:pos x="connsiteX10-21" y="connsiteY10-22"/>
                    </a:cxn>
                    <a:cxn ang="0">
                      <a:pos x="connsiteX11-23" y="connsiteY11-24"/>
                    </a:cxn>
                    <a:cxn ang="0">
                      <a:pos x="connsiteX12-25" y="connsiteY12-26"/>
                    </a:cxn>
                    <a:cxn ang="0">
                      <a:pos x="connsiteX13-27" y="connsiteY13-28"/>
                    </a:cxn>
                  </a:cxnLst>
                  <a:rect l="l" t="t" r="r" b="b"/>
                  <a:pathLst>
                    <a:path w="1621631" h="1069614">
                      <a:moveTo>
                        <a:pt x="270720" y="1067768"/>
                      </a:moveTo>
                      <a:lnTo>
                        <a:pt x="273843" y="1069614"/>
                      </a:lnTo>
                      <a:lnTo>
                        <a:pt x="270720" y="1067768"/>
                      </a:lnTo>
                      <a:close/>
                      <a:moveTo>
                        <a:pt x="0" y="907689"/>
                      </a:moveTo>
                      <a:lnTo>
                        <a:pt x="1629" y="908652"/>
                      </a:lnTo>
                      <a:lnTo>
                        <a:pt x="0" y="907689"/>
                      </a:lnTo>
                      <a:close/>
                      <a:moveTo>
                        <a:pt x="1621631" y="312073"/>
                      </a:moveTo>
                      <a:lnTo>
                        <a:pt x="1621631" y="312377"/>
                      </a:lnTo>
                      <a:lnTo>
                        <a:pt x="1621631" y="312073"/>
                      </a:lnTo>
                      <a:close/>
                      <a:moveTo>
                        <a:pt x="1621631" y="0"/>
                      </a:moveTo>
                      <a:lnTo>
                        <a:pt x="1621631" y="312073"/>
                      </a:lnTo>
                      <a:cubicBezTo>
                        <a:pt x="1059988" y="337356"/>
                        <a:pt x="568425" y="631117"/>
                        <a:pt x="270720" y="1067768"/>
                      </a:cubicBezTo>
                      <a:lnTo>
                        <a:pt x="1629" y="908652"/>
                      </a:lnTo>
                      <a:cubicBezTo>
                        <a:pt x="354259" y="380480"/>
                        <a:pt x="945677" y="25494"/>
                        <a:pt x="1621631" y="0"/>
                      </a:cubicBez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  <a:noAutofit/>
                </a:bodyPr>
                <a:lstStyle/>
                <a:p>
                  <a:pPr algn="ctr" defTabSz="698500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spc="-38" dirty="0">
                    <a:solidFill>
                      <a:srgbClr val="ADACC8"/>
                    </a:solidFill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96" name="Freeform 118"/>
              <p:cNvSpPr/>
              <p:nvPr/>
            </p:nvSpPr>
            <p:spPr bwMode="auto">
              <a:xfrm rot="17954294">
                <a:off x="5349785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<a:noAutofit/>
              </a:bodyPr>
              <a:lstStyle/>
              <a:p>
                <a:pPr algn="ctr" defTabSz="6985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 spc="-38" dirty="0">
                  <a:solidFill>
                    <a:srgbClr val="ADACC8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7" name="Freeform 119"/>
              <p:cNvSpPr/>
              <p:nvPr/>
            </p:nvSpPr>
            <p:spPr bwMode="auto">
              <a:xfrm rot="3645706" flipH="1">
                <a:off x="8875073" y="3127550"/>
                <a:ext cx="1621631" cy="1069614"/>
              </a:xfrm>
              <a:custGeom>
                <a:avLst/>
                <a:gdLst>
                  <a:gd name="connsiteX0" fmla="*/ 668844 w 4158105"/>
                  <a:gd name="connsiteY0" fmla="*/ 1079241 h 4110786"/>
                  <a:gd name="connsiteX1" fmla="*/ 671967 w 4158105"/>
                  <a:gd name="connsiteY1" fmla="*/ 1081087 h 4110786"/>
                  <a:gd name="connsiteX2" fmla="*/ 576717 w 4158105"/>
                  <a:gd name="connsiteY2" fmla="*/ 1235869 h 4110786"/>
                  <a:gd name="connsiteX3" fmla="*/ 574232 w 4158105"/>
                  <a:gd name="connsiteY3" fmla="*/ 1234330 h 4110786"/>
                  <a:gd name="connsiteX4" fmla="*/ 668844 w 4158105"/>
                  <a:gd name="connsiteY4" fmla="*/ 1079241 h 4110786"/>
                  <a:gd name="connsiteX5" fmla="*/ 398124 w 4158105"/>
                  <a:gd name="connsiteY5" fmla="*/ 919162 h 4110786"/>
                  <a:gd name="connsiteX6" fmla="*/ 399753 w 4158105"/>
                  <a:gd name="connsiteY6" fmla="*/ 920125 h 4110786"/>
                  <a:gd name="connsiteX7" fmla="*/ 308772 w 4158105"/>
                  <a:gd name="connsiteY7" fmla="*/ 1069886 h 4110786"/>
                  <a:gd name="connsiteX8" fmla="*/ 307636 w 4158105"/>
                  <a:gd name="connsiteY8" fmla="*/ 1069182 h 4110786"/>
                  <a:gd name="connsiteX9" fmla="*/ 398124 w 4158105"/>
                  <a:gd name="connsiteY9" fmla="*/ 919162 h 4110786"/>
                  <a:gd name="connsiteX10" fmla="*/ 2106264 w 4158105"/>
                  <a:gd name="connsiteY10" fmla="*/ 319178 h 4110786"/>
                  <a:gd name="connsiteX11" fmla="*/ 2198792 w 4158105"/>
                  <a:gd name="connsiteY11" fmla="*/ 323850 h 4110786"/>
                  <a:gd name="connsiteX12" fmla="*/ 2019755 w 4158105"/>
                  <a:gd name="connsiteY12" fmla="*/ 323850 h 4110786"/>
                  <a:gd name="connsiteX13" fmla="*/ 2019755 w 4158105"/>
                  <a:gd name="connsiteY13" fmla="*/ 323546 h 4110786"/>
                  <a:gd name="connsiteX14" fmla="*/ 2106264 w 4158105"/>
                  <a:gd name="connsiteY14" fmla="*/ 319178 h 4110786"/>
                  <a:gd name="connsiteX15" fmla="*/ 2224351 w 4158105"/>
                  <a:gd name="connsiteY15" fmla="*/ 13068 h 4110786"/>
                  <a:gd name="connsiteX16" fmla="*/ 4158105 w 4158105"/>
                  <a:gd name="connsiteY16" fmla="*/ 2058946 h 4110786"/>
                  <a:gd name="connsiteX17" fmla="*/ 2106265 w 4158105"/>
                  <a:gd name="connsiteY17" fmla="*/ 4110786 h 4110786"/>
                  <a:gd name="connsiteX18" fmla="*/ 54424 w 4158105"/>
                  <a:gd name="connsiteY18" fmla="*/ 2058946 h 4110786"/>
                  <a:gd name="connsiteX19" fmla="*/ 574232 w 4158105"/>
                  <a:gd name="connsiteY19" fmla="*/ 1234330 h 4110786"/>
                  <a:gd name="connsiteX20" fmla="*/ 366497 w 4158105"/>
                  <a:gd name="connsiteY20" fmla="*/ 2058945 h 4110786"/>
                  <a:gd name="connsiteX21" fmla="*/ 2106264 w 4158105"/>
                  <a:gd name="connsiteY21" fmla="*/ 3798712 h 4110786"/>
                  <a:gd name="connsiteX22" fmla="*/ 3846030 w 4158105"/>
                  <a:gd name="connsiteY22" fmla="*/ 2058945 h 4110786"/>
                  <a:gd name="connsiteX23" fmla="*/ 2198792 w 4158105"/>
                  <a:gd name="connsiteY23" fmla="*/ 323850 h 4110786"/>
                  <a:gd name="connsiteX24" fmla="*/ 2219780 w 4158105"/>
                  <a:gd name="connsiteY24" fmla="*/ 323850 h 4110786"/>
                  <a:gd name="connsiteX25" fmla="*/ 2224351 w 4158105"/>
                  <a:gd name="connsiteY25" fmla="*/ 13068 h 4110786"/>
                  <a:gd name="connsiteX26" fmla="*/ 2019755 w 4158105"/>
                  <a:gd name="connsiteY26" fmla="*/ 11473 h 4110786"/>
                  <a:gd name="connsiteX27" fmla="*/ 2019755 w 4158105"/>
                  <a:gd name="connsiteY27" fmla="*/ 323546 h 4110786"/>
                  <a:gd name="connsiteX28" fmla="*/ 668844 w 4158105"/>
                  <a:gd name="connsiteY28" fmla="*/ 1079241 h 4110786"/>
                  <a:gd name="connsiteX29" fmla="*/ 399753 w 4158105"/>
                  <a:gd name="connsiteY29" fmla="*/ 920125 h 4110786"/>
                  <a:gd name="connsiteX30" fmla="*/ 2019755 w 4158105"/>
                  <a:gd name="connsiteY30" fmla="*/ 11473 h 4110786"/>
                  <a:gd name="connsiteX31" fmla="*/ 2224543 w 4158105"/>
                  <a:gd name="connsiteY31" fmla="*/ 0 h 4110786"/>
                  <a:gd name="connsiteX32" fmla="*/ 2224351 w 4158105"/>
                  <a:gd name="connsiteY32" fmla="*/ 13068 h 4110786"/>
                  <a:gd name="connsiteX33" fmla="*/ 2106265 w 4158105"/>
                  <a:gd name="connsiteY33" fmla="*/ 7105 h 4110786"/>
                  <a:gd name="connsiteX34" fmla="*/ 2019755 w 4158105"/>
                  <a:gd name="connsiteY34" fmla="*/ 11473 h 4110786"/>
                  <a:gd name="connsiteX35" fmla="*/ 2019755 w 4158105"/>
                  <a:gd name="connsiteY35" fmla="*/ 2381 h 4110786"/>
                  <a:gd name="connsiteX36" fmla="*/ 2224543 w 4158105"/>
                  <a:gd name="connsiteY36" fmla="*/ 0 h 4110786"/>
                  <a:gd name="connsiteX0-1" fmla="*/ 668844 w 4158105"/>
                  <a:gd name="connsiteY0-2" fmla="*/ 1079241 h 4110786"/>
                  <a:gd name="connsiteX1-3" fmla="*/ 671967 w 4158105"/>
                  <a:gd name="connsiteY1-4" fmla="*/ 1081087 h 4110786"/>
                  <a:gd name="connsiteX2-5" fmla="*/ 576717 w 4158105"/>
                  <a:gd name="connsiteY2-6" fmla="*/ 1235869 h 4110786"/>
                  <a:gd name="connsiteX3-7" fmla="*/ 574232 w 4158105"/>
                  <a:gd name="connsiteY3-8" fmla="*/ 1234330 h 4110786"/>
                  <a:gd name="connsiteX4-9" fmla="*/ 668844 w 4158105"/>
                  <a:gd name="connsiteY4-10" fmla="*/ 1079241 h 4110786"/>
                  <a:gd name="connsiteX5-11" fmla="*/ 398124 w 4158105"/>
                  <a:gd name="connsiteY5-12" fmla="*/ 919162 h 4110786"/>
                  <a:gd name="connsiteX6-13" fmla="*/ 399753 w 4158105"/>
                  <a:gd name="connsiteY6-14" fmla="*/ 920125 h 4110786"/>
                  <a:gd name="connsiteX7-15" fmla="*/ 308772 w 4158105"/>
                  <a:gd name="connsiteY7-16" fmla="*/ 1069886 h 4110786"/>
                  <a:gd name="connsiteX8-17" fmla="*/ 398124 w 4158105"/>
                  <a:gd name="connsiteY8-18" fmla="*/ 919162 h 4110786"/>
                  <a:gd name="connsiteX9-19" fmla="*/ 2106264 w 4158105"/>
                  <a:gd name="connsiteY9-20" fmla="*/ 319178 h 4110786"/>
                  <a:gd name="connsiteX10-21" fmla="*/ 2198792 w 4158105"/>
                  <a:gd name="connsiteY10-22" fmla="*/ 323850 h 4110786"/>
                  <a:gd name="connsiteX11-23" fmla="*/ 2019755 w 4158105"/>
                  <a:gd name="connsiteY11-24" fmla="*/ 323850 h 4110786"/>
                  <a:gd name="connsiteX12-25" fmla="*/ 2019755 w 4158105"/>
                  <a:gd name="connsiteY12-26" fmla="*/ 323546 h 4110786"/>
                  <a:gd name="connsiteX13-27" fmla="*/ 2106264 w 4158105"/>
                  <a:gd name="connsiteY13-28" fmla="*/ 319178 h 4110786"/>
                  <a:gd name="connsiteX14-29" fmla="*/ 2224351 w 4158105"/>
                  <a:gd name="connsiteY14-30" fmla="*/ 13068 h 4110786"/>
                  <a:gd name="connsiteX15-31" fmla="*/ 4158105 w 4158105"/>
                  <a:gd name="connsiteY15-32" fmla="*/ 2058946 h 4110786"/>
                  <a:gd name="connsiteX16-33" fmla="*/ 2106265 w 4158105"/>
                  <a:gd name="connsiteY16-34" fmla="*/ 4110786 h 4110786"/>
                  <a:gd name="connsiteX17-35" fmla="*/ 54424 w 4158105"/>
                  <a:gd name="connsiteY17-36" fmla="*/ 2058946 h 4110786"/>
                  <a:gd name="connsiteX18-37" fmla="*/ 574232 w 4158105"/>
                  <a:gd name="connsiteY18-38" fmla="*/ 1234330 h 4110786"/>
                  <a:gd name="connsiteX19-39" fmla="*/ 366497 w 4158105"/>
                  <a:gd name="connsiteY19-40" fmla="*/ 2058945 h 4110786"/>
                  <a:gd name="connsiteX20-41" fmla="*/ 2106264 w 4158105"/>
                  <a:gd name="connsiteY20-42" fmla="*/ 3798712 h 4110786"/>
                  <a:gd name="connsiteX21-43" fmla="*/ 3846030 w 4158105"/>
                  <a:gd name="connsiteY21-44" fmla="*/ 2058945 h 4110786"/>
                  <a:gd name="connsiteX22-45" fmla="*/ 2198792 w 4158105"/>
                  <a:gd name="connsiteY22-46" fmla="*/ 323850 h 4110786"/>
                  <a:gd name="connsiteX23-47" fmla="*/ 2219780 w 4158105"/>
                  <a:gd name="connsiteY23-48" fmla="*/ 323850 h 4110786"/>
                  <a:gd name="connsiteX24-49" fmla="*/ 2224351 w 4158105"/>
                  <a:gd name="connsiteY24-50" fmla="*/ 13068 h 4110786"/>
                  <a:gd name="connsiteX25-51" fmla="*/ 2019755 w 4158105"/>
                  <a:gd name="connsiteY25-52" fmla="*/ 11473 h 4110786"/>
                  <a:gd name="connsiteX26-53" fmla="*/ 2019755 w 4158105"/>
                  <a:gd name="connsiteY26-54" fmla="*/ 323546 h 4110786"/>
                  <a:gd name="connsiteX27-55" fmla="*/ 668844 w 4158105"/>
                  <a:gd name="connsiteY27-56" fmla="*/ 1079241 h 4110786"/>
                  <a:gd name="connsiteX28-57" fmla="*/ 399753 w 4158105"/>
                  <a:gd name="connsiteY28-58" fmla="*/ 920125 h 4110786"/>
                  <a:gd name="connsiteX29-59" fmla="*/ 2019755 w 4158105"/>
                  <a:gd name="connsiteY29-60" fmla="*/ 11473 h 4110786"/>
                  <a:gd name="connsiteX30-61" fmla="*/ 2224543 w 4158105"/>
                  <a:gd name="connsiteY30-62" fmla="*/ 0 h 4110786"/>
                  <a:gd name="connsiteX31-63" fmla="*/ 2224351 w 4158105"/>
                  <a:gd name="connsiteY31-64" fmla="*/ 13068 h 4110786"/>
                  <a:gd name="connsiteX32-65" fmla="*/ 2106265 w 4158105"/>
                  <a:gd name="connsiteY32-66" fmla="*/ 7105 h 4110786"/>
                  <a:gd name="connsiteX33-67" fmla="*/ 2019755 w 4158105"/>
                  <a:gd name="connsiteY33-68" fmla="*/ 11473 h 4110786"/>
                  <a:gd name="connsiteX34-69" fmla="*/ 2019755 w 4158105"/>
                  <a:gd name="connsiteY34-70" fmla="*/ 2381 h 4110786"/>
                  <a:gd name="connsiteX35-71" fmla="*/ 2224543 w 4158105"/>
                  <a:gd name="connsiteY35-72" fmla="*/ 0 h 4110786"/>
                  <a:gd name="connsiteX0-73" fmla="*/ 668844 w 4158105"/>
                  <a:gd name="connsiteY0-74" fmla="*/ 1079241 h 4110786"/>
                  <a:gd name="connsiteX1-75" fmla="*/ 671967 w 4158105"/>
                  <a:gd name="connsiteY1-76" fmla="*/ 1081087 h 4110786"/>
                  <a:gd name="connsiteX2-77" fmla="*/ 576717 w 4158105"/>
                  <a:gd name="connsiteY2-78" fmla="*/ 1235869 h 4110786"/>
                  <a:gd name="connsiteX3-79" fmla="*/ 574232 w 4158105"/>
                  <a:gd name="connsiteY3-80" fmla="*/ 1234330 h 4110786"/>
                  <a:gd name="connsiteX4-81" fmla="*/ 668844 w 4158105"/>
                  <a:gd name="connsiteY4-82" fmla="*/ 1079241 h 4110786"/>
                  <a:gd name="connsiteX5-83" fmla="*/ 398124 w 4158105"/>
                  <a:gd name="connsiteY5-84" fmla="*/ 919162 h 4110786"/>
                  <a:gd name="connsiteX6-85" fmla="*/ 399753 w 4158105"/>
                  <a:gd name="connsiteY6-86" fmla="*/ 920125 h 4110786"/>
                  <a:gd name="connsiteX7-87" fmla="*/ 398124 w 4158105"/>
                  <a:gd name="connsiteY7-88" fmla="*/ 919162 h 4110786"/>
                  <a:gd name="connsiteX8-89" fmla="*/ 2106264 w 4158105"/>
                  <a:gd name="connsiteY8-90" fmla="*/ 319178 h 4110786"/>
                  <a:gd name="connsiteX9-91" fmla="*/ 2198792 w 4158105"/>
                  <a:gd name="connsiteY9-92" fmla="*/ 323850 h 4110786"/>
                  <a:gd name="connsiteX10-93" fmla="*/ 2019755 w 4158105"/>
                  <a:gd name="connsiteY10-94" fmla="*/ 323850 h 4110786"/>
                  <a:gd name="connsiteX11-95" fmla="*/ 2019755 w 4158105"/>
                  <a:gd name="connsiteY11-96" fmla="*/ 323546 h 4110786"/>
                  <a:gd name="connsiteX12-97" fmla="*/ 2106264 w 4158105"/>
                  <a:gd name="connsiteY12-98" fmla="*/ 319178 h 4110786"/>
                  <a:gd name="connsiteX13-99" fmla="*/ 2224351 w 4158105"/>
                  <a:gd name="connsiteY13-100" fmla="*/ 13068 h 4110786"/>
                  <a:gd name="connsiteX14-101" fmla="*/ 4158105 w 4158105"/>
                  <a:gd name="connsiteY14-102" fmla="*/ 2058946 h 4110786"/>
                  <a:gd name="connsiteX15-103" fmla="*/ 2106265 w 4158105"/>
                  <a:gd name="connsiteY15-104" fmla="*/ 4110786 h 4110786"/>
                  <a:gd name="connsiteX16-105" fmla="*/ 54424 w 4158105"/>
                  <a:gd name="connsiteY16-106" fmla="*/ 2058946 h 4110786"/>
                  <a:gd name="connsiteX17-107" fmla="*/ 574232 w 4158105"/>
                  <a:gd name="connsiteY17-108" fmla="*/ 1234330 h 4110786"/>
                  <a:gd name="connsiteX18-109" fmla="*/ 366497 w 4158105"/>
                  <a:gd name="connsiteY18-110" fmla="*/ 2058945 h 4110786"/>
                  <a:gd name="connsiteX19-111" fmla="*/ 2106264 w 4158105"/>
                  <a:gd name="connsiteY19-112" fmla="*/ 3798712 h 4110786"/>
                  <a:gd name="connsiteX20-113" fmla="*/ 3846030 w 4158105"/>
                  <a:gd name="connsiteY20-114" fmla="*/ 2058945 h 4110786"/>
                  <a:gd name="connsiteX21-115" fmla="*/ 2198792 w 4158105"/>
                  <a:gd name="connsiteY21-116" fmla="*/ 323850 h 4110786"/>
                  <a:gd name="connsiteX22-117" fmla="*/ 2219780 w 4158105"/>
                  <a:gd name="connsiteY22-118" fmla="*/ 323850 h 4110786"/>
                  <a:gd name="connsiteX23-119" fmla="*/ 2224351 w 4158105"/>
                  <a:gd name="connsiteY23-120" fmla="*/ 13068 h 4110786"/>
                  <a:gd name="connsiteX24-121" fmla="*/ 2019755 w 4158105"/>
                  <a:gd name="connsiteY24-122" fmla="*/ 11473 h 4110786"/>
                  <a:gd name="connsiteX25-123" fmla="*/ 2019755 w 4158105"/>
                  <a:gd name="connsiteY25-124" fmla="*/ 323546 h 4110786"/>
                  <a:gd name="connsiteX26-125" fmla="*/ 668844 w 4158105"/>
                  <a:gd name="connsiteY26-126" fmla="*/ 1079241 h 4110786"/>
                  <a:gd name="connsiteX27-127" fmla="*/ 399753 w 4158105"/>
                  <a:gd name="connsiteY27-128" fmla="*/ 920125 h 4110786"/>
                  <a:gd name="connsiteX28-129" fmla="*/ 2019755 w 4158105"/>
                  <a:gd name="connsiteY28-130" fmla="*/ 11473 h 4110786"/>
                  <a:gd name="connsiteX29-131" fmla="*/ 2224543 w 4158105"/>
                  <a:gd name="connsiteY29-132" fmla="*/ 0 h 4110786"/>
                  <a:gd name="connsiteX30-133" fmla="*/ 2224351 w 4158105"/>
                  <a:gd name="connsiteY30-134" fmla="*/ 13068 h 4110786"/>
                  <a:gd name="connsiteX31-135" fmla="*/ 2106265 w 4158105"/>
                  <a:gd name="connsiteY31-136" fmla="*/ 7105 h 4110786"/>
                  <a:gd name="connsiteX32-137" fmla="*/ 2019755 w 4158105"/>
                  <a:gd name="connsiteY32-138" fmla="*/ 11473 h 4110786"/>
                  <a:gd name="connsiteX33-139" fmla="*/ 2019755 w 4158105"/>
                  <a:gd name="connsiteY33-140" fmla="*/ 2381 h 4110786"/>
                  <a:gd name="connsiteX34-141" fmla="*/ 2224543 w 4158105"/>
                  <a:gd name="connsiteY34-142" fmla="*/ 0 h 4110786"/>
                  <a:gd name="connsiteX0-143" fmla="*/ 739525 w 4228786"/>
                  <a:gd name="connsiteY0-144" fmla="*/ 1079241 h 4110786"/>
                  <a:gd name="connsiteX1-145" fmla="*/ 742648 w 4228786"/>
                  <a:gd name="connsiteY1-146" fmla="*/ 1081087 h 4110786"/>
                  <a:gd name="connsiteX2-147" fmla="*/ 647398 w 4228786"/>
                  <a:gd name="connsiteY2-148" fmla="*/ 1235869 h 4110786"/>
                  <a:gd name="connsiteX3-149" fmla="*/ 644913 w 4228786"/>
                  <a:gd name="connsiteY3-150" fmla="*/ 1234330 h 4110786"/>
                  <a:gd name="connsiteX4-151" fmla="*/ 739525 w 4228786"/>
                  <a:gd name="connsiteY4-152" fmla="*/ 1079241 h 4110786"/>
                  <a:gd name="connsiteX5-153" fmla="*/ 468805 w 4228786"/>
                  <a:gd name="connsiteY5-154" fmla="*/ 919162 h 4110786"/>
                  <a:gd name="connsiteX6-155" fmla="*/ 470434 w 4228786"/>
                  <a:gd name="connsiteY6-156" fmla="*/ 920125 h 4110786"/>
                  <a:gd name="connsiteX7-157" fmla="*/ 468805 w 4228786"/>
                  <a:gd name="connsiteY7-158" fmla="*/ 919162 h 4110786"/>
                  <a:gd name="connsiteX8-159" fmla="*/ 2176945 w 4228786"/>
                  <a:gd name="connsiteY8-160" fmla="*/ 319178 h 4110786"/>
                  <a:gd name="connsiteX9-161" fmla="*/ 2269473 w 4228786"/>
                  <a:gd name="connsiteY9-162" fmla="*/ 323850 h 4110786"/>
                  <a:gd name="connsiteX10-163" fmla="*/ 2090436 w 4228786"/>
                  <a:gd name="connsiteY10-164" fmla="*/ 323850 h 4110786"/>
                  <a:gd name="connsiteX11-165" fmla="*/ 2090436 w 4228786"/>
                  <a:gd name="connsiteY11-166" fmla="*/ 323546 h 4110786"/>
                  <a:gd name="connsiteX12-167" fmla="*/ 2176945 w 4228786"/>
                  <a:gd name="connsiteY12-168" fmla="*/ 319178 h 4110786"/>
                  <a:gd name="connsiteX13-169" fmla="*/ 2295032 w 4228786"/>
                  <a:gd name="connsiteY13-170" fmla="*/ 13068 h 4110786"/>
                  <a:gd name="connsiteX14-171" fmla="*/ 4228786 w 4228786"/>
                  <a:gd name="connsiteY14-172" fmla="*/ 2058946 h 4110786"/>
                  <a:gd name="connsiteX15-173" fmla="*/ 2176946 w 4228786"/>
                  <a:gd name="connsiteY15-174" fmla="*/ 4110786 h 4110786"/>
                  <a:gd name="connsiteX16-175" fmla="*/ 125105 w 4228786"/>
                  <a:gd name="connsiteY16-176" fmla="*/ 2058946 h 4110786"/>
                  <a:gd name="connsiteX17-177" fmla="*/ 437178 w 4228786"/>
                  <a:gd name="connsiteY17-178" fmla="*/ 2058945 h 4110786"/>
                  <a:gd name="connsiteX18-179" fmla="*/ 2176945 w 4228786"/>
                  <a:gd name="connsiteY18-180" fmla="*/ 3798712 h 4110786"/>
                  <a:gd name="connsiteX19-181" fmla="*/ 3916711 w 4228786"/>
                  <a:gd name="connsiteY19-182" fmla="*/ 2058945 h 4110786"/>
                  <a:gd name="connsiteX20-183" fmla="*/ 2269473 w 4228786"/>
                  <a:gd name="connsiteY20-184" fmla="*/ 323850 h 4110786"/>
                  <a:gd name="connsiteX21-185" fmla="*/ 2290461 w 4228786"/>
                  <a:gd name="connsiteY21-186" fmla="*/ 323850 h 4110786"/>
                  <a:gd name="connsiteX22-187" fmla="*/ 2295032 w 4228786"/>
                  <a:gd name="connsiteY22-188" fmla="*/ 13068 h 4110786"/>
                  <a:gd name="connsiteX23-189" fmla="*/ 2090436 w 4228786"/>
                  <a:gd name="connsiteY23-190" fmla="*/ 11473 h 4110786"/>
                  <a:gd name="connsiteX24-191" fmla="*/ 2090436 w 4228786"/>
                  <a:gd name="connsiteY24-192" fmla="*/ 323546 h 4110786"/>
                  <a:gd name="connsiteX25-193" fmla="*/ 739525 w 4228786"/>
                  <a:gd name="connsiteY25-194" fmla="*/ 1079241 h 4110786"/>
                  <a:gd name="connsiteX26-195" fmla="*/ 470434 w 4228786"/>
                  <a:gd name="connsiteY26-196" fmla="*/ 920125 h 4110786"/>
                  <a:gd name="connsiteX27-197" fmla="*/ 2090436 w 4228786"/>
                  <a:gd name="connsiteY27-198" fmla="*/ 11473 h 4110786"/>
                  <a:gd name="connsiteX28-199" fmla="*/ 2295224 w 4228786"/>
                  <a:gd name="connsiteY28-200" fmla="*/ 0 h 4110786"/>
                  <a:gd name="connsiteX29-201" fmla="*/ 2295032 w 4228786"/>
                  <a:gd name="connsiteY29-202" fmla="*/ 13068 h 4110786"/>
                  <a:gd name="connsiteX30-203" fmla="*/ 2176946 w 4228786"/>
                  <a:gd name="connsiteY30-204" fmla="*/ 7105 h 4110786"/>
                  <a:gd name="connsiteX31-205" fmla="*/ 2090436 w 4228786"/>
                  <a:gd name="connsiteY31-206" fmla="*/ 11473 h 4110786"/>
                  <a:gd name="connsiteX32-207" fmla="*/ 2090436 w 4228786"/>
                  <a:gd name="connsiteY32-208" fmla="*/ 2381 h 4110786"/>
                  <a:gd name="connsiteX33-209" fmla="*/ 2295224 w 4228786"/>
                  <a:gd name="connsiteY33-210" fmla="*/ 0 h 4110786"/>
                  <a:gd name="connsiteX0-211" fmla="*/ 739525 w 4228786"/>
                  <a:gd name="connsiteY0-212" fmla="*/ 1079241 h 4110786"/>
                  <a:gd name="connsiteX1-213" fmla="*/ 742648 w 4228786"/>
                  <a:gd name="connsiteY1-214" fmla="*/ 1081087 h 4110786"/>
                  <a:gd name="connsiteX2-215" fmla="*/ 647398 w 4228786"/>
                  <a:gd name="connsiteY2-216" fmla="*/ 1235869 h 4110786"/>
                  <a:gd name="connsiteX3-217" fmla="*/ 739525 w 4228786"/>
                  <a:gd name="connsiteY3-218" fmla="*/ 1079241 h 4110786"/>
                  <a:gd name="connsiteX4-219" fmla="*/ 468805 w 4228786"/>
                  <a:gd name="connsiteY4-220" fmla="*/ 919162 h 4110786"/>
                  <a:gd name="connsiteX5-221" fmla="*/ 470434 w 4228786"/>
                  <a:gd name="connsiteY5-222" fmla="*/ 920125 h 4110786"/>
                  <a:gd name="connsiteX6-223" fmla="*/ 468805 w 4228786"/>
                  <a:gd name="connsiteY6-224" fmla="*/ 919162 h 4110786"/>
                  <a:gd name="connsiteX7-225" fmla="*/ 2176945 w 4228786"/>
                  <a:gd name="connsiteY7-226" fmla="*/ 319178 h 4110786"/>
                  <a:gd name="connsiteX8-227" fmla="*/ 2269473 w 4228786"/>
                  <a:gd name="connsiteY8-228" fmla="*/ 323850 h 4110786"/>
                  <a:gd name="connsiteX9-229" fmla="*/ 2090436 w 4228786"/>
                  <a:gd name="connsiteY9-230" fmla="*/ 323850 h 4110786"/>
                  <a:gd name="connsiteX10-231" fmla="*/ 2090436 w 4228786"/>
                  <a:gd name="connsiteY10-232" fmla="*/ 323546 h 4110786"/>
                  <a:gd name="connsiteX11-233" fmla="*/ 2176945 w 4228786"/>
                  <a:gd name="connsiteY11-234" fmla="*/ 319178 h 4110786"/>
                  <a:gd name="connsiteX12-235" fmla="*/ 2295032 w 4228786"/>
                  <a:gd name="connsiteY12-236" fmla="*/ 13068 h 4110786"/>
                  <a:gd name="connsiteX13-237" fmla="*/ 4228786 w 4228786"/>
                  <a:gd name="connsiteY13-238" fmla="*/ 2058946 h 4110786"/>
                  <a:gd name="connsiteX14-239" fmla="*/ 2176946 w 4228786"/>
                  <a:gd name="connsiteY14-240" fmla="*/ 4110786 h 4110786"/>
                  <a:gd name="connsiteX15-241" fmla="*/ 125105 w 4228786"/>
                  <a:gd name="connsiteY15-242" fmla="*/ 2058946 h 4110786"/>
                  <a:gd name="connsiteX16-243" fmla="*/ 437178 w 4228786"/>
                  <a:gd name="connsiteY16-244" fmla="*/ 2058945 h 4110786"/>
                  <a:gd name="connsiteX17-245" fmla="*/ 2176945 w 4228786"/>
                  <a:gd name="connsiteY17-246" fmla="*/ 3798712 h 4110786"/>
                  <a:gd name="connsiteX18-247" fmla="*/ 3916711 w 4228786"/>
                  <a:gd name="connsiteY18-248" fmla="*/ 2058945 h 4110786"/>
                  <a:gd name="connsiteX19-249" fmla="*/ 2269473 w 4228786"/>
                  <a:gd name="connsiteY19-250" fmla="*/ 323850 h 4110786"/>
                  <a:gd name="connsiteX20-251" fmla="*/ 2290461 w 4228786"/>
                  <a:gd name="connsiteY20-252" fmla="*/ 323850 h 4110786"/>
                  <a:gd name="connsiteX21-253" fmla="*/ 2295032 w 4228786"/>
                  <a:gd name="connsiteY21-254" fmla="*/ 13068 h 4110786"/>
                  <a:gd name="connsiteX22-255" fmla="*/ 2090436 w 4228786"/>
                  <a:gd name="connsiteY22-256" fmla="*/ 11473 h 4110786"/>
                  <a:gd name="connsiteX23-257" fmla="*/ 2090436 w 4228786"/>
                  <a:gd name="connsiteY23-258" fmla="*/ 323546 h 4110786"/>
                  <a:gd name="connsiteX24-259" fmla="*/ 739525 w 4228786"/>
                  <a:gd name="connsiteY24-260" fmla="*/ 1079241 h 4110786"/>
                  <a:gd name="connsiteX25-261" fmla="*/ 470434 w 4228786"/>
                  <a:gd name="connsiteY25-262" fmla="*/ 920125 h 4110786"/>
                  <a:gd name="connsiteX26-263" fmla="*/ 2090436 w 4228786"/>
                  <a:gd name="connsiteY26-264" fmla="*/ 11473 h 4110786"/>
                  <a:gd name="connsiteX27-265" fmla="*/ 2295224 w 4228786"/>
                  <a:gd name="connsiteY27-266" fmla="*/ 0 h 4110786"/>
                  <a:gd name="connsiteX28-267" fmla="*/ 2295032 w 4228786"/>
                  <a:gd name="connsiteY28-268" fmla="*/ 13068 h 4110786"/>
                  <a:gd name="connsiteX29-269" fmla="*/ 2176946 w 4228786"/>
                  <a:gd name="connsiteY29-270" fmla="*/ 7105 h 4110786"/>
                  <a:gd name="connsiteX30-271" fmla="*/ 2090436 w 4228786"/>
                  <a:gd name="connsiteY30-272" fmla="*/ 11473 h 4110786"/>
                  <a:gd name="connsiteX31-273" fmla="*/ 2090436 w 4228786"/>
                  <a:gd name="connsiteY31-274" fmla="*/ 2381 h 4110786"/>
                  <a:gd name="connsiteX32-275" fmla="*/ 2295224 w 4228786"/>
                  <a:gd name="connsiteY32-276" fmla="*/ 0 h 4110786"/>
                  <a:gd name="connsiteX0-277" fmla="*/ 739525 w 4228786"/>
                  <a:gd name="connsiteY0-278" fmla="*/ 1079241 h 4110786"/>
                  <a:gd name="connsiteX1-279" fmla="*/ 742648 w 4228786"/>
                  <a:gd name="connsiteY1-280" fmla="*/ 1081087 h 4110786"/>
                  <a:gd name="connsiteX2-281" fmla="*/ 739525 w 4228786"/>
                  <a:gd name="connsiteY2-282" fmla="*/ 1079241 h 4110786"/>
                  <a:gd name="connsiteX3-283" fmla="*/ 468805 w 4228786"/>
                  <a:gd name="connsiteY3-284" fmla="*/ 919162 h 4110786"/>
                  <a:gd name="connsiteX4-285" fmla="*/ 470434 w 4228786"/>
                  <a:gd name="connsiteY4-286" fmla="*/ 920125 h 4110786"/>
                  <a:gd name="connsiteX5-287" fmla="*/ 468805 w 4228786"/>
                  <a:gd name="connsiteY5-288" fmla="*/ 919162 h 4110786"/>
                  <a:gd name="connsiteX6-289" fmla="*/ 2176945 w 4228786"/>
                  <a:gd name="connsiteY6-290" fmla="*/ 319178 h 4110786"/>
                  <a:gd name="connsiteX7-291" fmla="*/ 2269473 w 4228786"/>
                  <a:gd name="connsiteY7-292" fmla="*/ 323850 h 4110786"/>
                  <a:gd name="connsiteX8-293" fmla="*/ 2090436 w 4228786"/>
                  <a:gd name="connsiteY8-294" fmla="*/ 323850 h 4110786"/>
                  <a:gd name="connsiteX9-295" fmla="*/ 2090436 w 4228786"/>
                  <a:gd name="connsiteY9-296" fmla="*/ 323546 h 4110786"/>
                  <a:gd name="connsiteX10-297" fmla="*/ 2176945 w 4228786"/>
                  <a:gd name="connsiteY10-298" fmla="*/ 319178 h 4110786"/>
                  <a:gd name="connsiteX11-299" fmla="*/ 2295032 w 4228786"/>
                  <a:gd name="connsiteY11-300" fmla="*/ 13068 h 4110786"/>
                  <a:gd name="connsiteX12-301" fmla="*/ 4228786 w 4228786"/>
                  <a:gd name="connsiteY12-302" fmla="*/ 2058946 h 4110786"/>
                  <a:gd name="connsiteX13-303" fmla="*/ 2176946 w 4228786"/>
                  <a:gd name="connsiteY13-304" fmla="*/ 4110786 h 4110786"/>
                  <a:gd name="connsiteX14-305" fmla="*/ 125105 w 4228786"/>
                  <a:gd name="connsiteY14-306" fmla="*/ 2058946 h 4110786"/>
                  <a:gd name="connsiteX15-307" fmla="*/ 437178 w 4228786"/>
                  <a:gd name="connsiteY15-308" fmla="*/ 2058945 h 4110786"/>
                  <a:gd name="connsiteX16-309" fmla="*/ 2176945 w 4228786"/>
                  <a:gd name="connsiteY16-310" fmla="*/ 3798712 h 4110786"/>
                  <a:gd name="connsiteX17-311" fmla="*/ 3916711 w 4228786"/>
                  <a:gd name="connsiteY17-312" fmla="*/ 2058945 h 4110786"/>
                  <a:gd name="connsiteX18-313" fmla="*/ 2269473 w 4228786"/>
                  <a:gd name="connsiteY18-314" fmla="*/ 323850 h 4110786"/>
                  <a:gd name="connsiteX19-315" fmla="*/ 2290461 w 4228786"/>
                  <a:gd name="connsiteY19-316" fmla="*/ 323850 h 4110786"/>
                  <a:gd name="connsiteX20-317" fmla="*/ 2295032 w 4228786"/>
                  <a:gd name="connsiteY20-318" fmla="*/ 13068 h 4110786"/>
                  <a:gd name="connsiteX21-319" fmla="*/ 2090436 w 4228786"/>
                  <a:gd name="connsiteY21-320" fmla="*/ 11473 h 4110786"/>
                  <a:gd name="connsiteX22-321" fmla="*/ 2090436 w 4228786"/>
                  <a:gd name="connsiteY22-322" fmla="*/ 323546 h 4110786"/>
                  <a:gd name="connsiteX23-323" fmla="*/ 739525 w 4228786"/>
                  <a:gd name="connsiteY23-324" fmla="*/ 1079241 h 4110786"/>
                  <a:gd name="connsiteX24-325" fmla="*/ 470434 w 4228786"/>
                  <a:gd name="connsiteY24-326" fmla="*/ 920125 h 4110786"/>
                  <a:gd name="connsiteX25-327" fmla="*/ 2090436 w 4228786"/>
                  <a:gd name="connsiteY25-328" fmla="*/ 11473 h 4110786"/>
                  <a:gd name="connsiteX26-329" fmla="*/ 2295224 w 4228786"/>
                  <a:gd name="connsiteY26-330" fmla="*/ 0 h 4110786"/>
                  <a:gd name="connsiteX27-331" fmla="*/ 2295032 w 4228786"/>
                  <a:gd name="connsiteY27-332" fmla="*/ 13068 h 4110786"/>
                  <a:gd name="connsiteX28-333" fmla="*/ 2176946 w 4228786"/>
                  <a:gd name="connsiteY28-334" fmla="*/ 7105 h 4110786"/>
                  <a:gd name="connsiteX29-335" fmla="*/ 2090436 w 4228786"/>
                  <a:gd name="connsiteY29-336" fmla="*/ 11473 h 4110786"/>
                  <a:gd name="connsiteX30-337" fmla="*/ 2090436 w 4228786"/>
                  <a:gd name="connsiteY30-338" fmla="*/ 2381 h 4110786"/>
                  <a:gd name="connsiteX31-339" fmla="*/ 2295224 w 4228786"/>
                  <a:gd name="connsiteY31-340" fmla="*/ 0 h 4110786"/>
                  <a:gd name="connsiteX0-341" fmla="*/ 739525 w 4228786"/>
                  <a:gd name="connsiteY0-342" fmla="*/ 1079241 h 4110786"/>
                  <a:gd name="connsiteX1-343" fmla="*/ 742648 w 4228786"/>
                  <a:gd name="connsiteY1-344" fmla="*/ 1081087 h 4110786"/>
                  <a:gd name="connsiteX2-345" fmla="*/ 739525 w 4228786"/>
                  <a:gd name="connsiteY2-346" fmla="*/ 1079241 h 4110786"/>
                  <a:gd name="connsiteX3-347" fmla="*/ 468805 w 4228786"/>
                  <a:gd name="connsiteY3-348" fmla="*/ 919162 h 4110786"/>
                  <a:gd name="connsiteX4-349" fmla="*/ 470434 w 4228786"/>
                  <a:gd name="connsiteY4-350" fmla="*/ 920125 h 4110786"/>
                  <a:gd name="connsiteX5-351" fmla="*/ 468805 w 4228786"/>
                  <a:gd name="connsiteY5-352" fmla="*/ 919162 h 4110786"/>
                  <a:gd name="connsiteX6-353" fmla="*/ 2176945 w 4228786"/>
                  <a:gd name="connsiteY6-354" fmla="*/ 319178 h 4110786"/>
                  <a:gd name="connsiteX7-355" fmla="*/ 2269473 w 4228786"/>
                  <a:gd name="connsiteY7-356" fmla="*/ 323850 h 4110786"/>
                  <a:gd name="connsiteX8-357" fmla="*/ 2090436 w 4228786"/>
                  <a:gd name="connsiteY8-358" fmla="*/ 323850 h 4110786"/>
                  <a:gd name="connsiteX9-359" fmla="*/ 2090436 w 4228786"/>
                  <a:gd name="connsiteY9-360" fmla="*/ 323546 h 4110786"/>
                  <a:gd name="connsiteX10-361" fmla="*/ 2176945 w 4228786"/>
                  <a:gd name="connsiteY10-362" fmla="*/ 319178 h 4110786"/>
                  <a:gd name="connsiteX11-363" fmla="*/ 2295032 w 4228786"/>
                  <a:gd name="connsiteY11-364" fmla="*/ 13068 h 4110786"/>
                  <a:gd name="connsiteX12-365" fmla="*/ 4228786 w 4228786"/>
                  <a:gd name="connsiteY12-366" fmla="*/ 2058946 h 4110786"/>
                  <a:gd name="connsiteX13-367" fmla="*/ 2176946 w 4228786"/>
                  <a:gd name="connsiteY13-368" fmla="*/ 4110786 h 4110786"/>
                  <a:gd name="connsiteX14-369" fmla="*/ 125105 w 4228786"/>
                  <a:gd name="connsiteY14-370" fmla="*/ 2058946 h 4110786"/>
                  <a:gd name="connsiteX15-371" fmla="*/ 437178 w 4228786"/>
                  <a:gd name="connsiteY15-372" fmla="*/ 2058945 h 4110786"/>
                  <a:gd name="connsiteX16-373" fmla="*/ 2176945 w 4228786"/>
                  <a:gd name="connsiteY16-374" fmla="*/ 3798712 h 4110786"/>
                  <a:gd name="connsiteX17-375" fmla="*/ 3916711 w 4228786"/>
                  <a:gd name="connsiteY17-376" fmla="*/ 2058945 h 4110786"/>
                  <a:gd name="connsiteX18-377" fmla="*/ 2269473 w 4228786"/>
                  <a:gd name="connsiteY18-378" fmla="*/ 323850 h 4110786"/>
                  <a:gd name="connsiteX19-379" fmla="*/ 2290461 w 4228786"/>
                  <a:gd name="connsiteY19-380" fmla="*/ 323850 h 4110786"/>
                  <a:gd name="connsiteX20-381" fmla="*/ 2295032 w 4228786"/>
                  <a:gd name="connsiteY20-382" fmla="*/ 13068 h 4110786"/>
                  <a:gd name="connsiteX21-383" fmla="*/ 2090436 w 4228786"/>
                  <a:gd name="connsiteY21-384" fmla="*/ 11473 h 4110786"/>
                  <a:gd name="connsiteX22-385" fmla="*/ 2090436 w 4228786"/>
                  <a:gd name="connsiteY22-386" fmla="*/ 323546 h 4110786"/>
                  <a:gd name="connsiteX23-387" fmla="*/ 739525 w 4228786"/>
                  <a:gd name="connsiteY23-388" fmla="*/ 1079241 h 4110786"/>
                  <a:gd name="connsiteX24-389" fmla="*/ 470434 w 4228786"/>
                  <a:gd name="connsiteY24-390" fmla="*/ 920125 h 4110786"/>
                  <a:gd name="connsiteX25-391" fmla="*/ 2090436 w 4228786"/>
                  <a:gd name="connsiteY25-392" fmla="*/ 11473 h 4110786"/>
                  <a:gd name="connsiteX26-393" fmla="*/ 2295224 w 4228786"/>
                  <a:gd name="connsiteY26-394" fmla="*/ 0 h 4110786"/>
                  <a:gd name="connsiteX27-395" fmla="*/ 2176946 w 4228786"/>
                  <a:gd name="connsiteY27-396" fmla="*/ 7105 h 4110786"/>
                  <a:gd name="connsiteX28-397" fmla="*/ 2090436 w 4228786"/>
                  <a:gd name="connsiteY28-398" fmla="*/ 11473 h 4110786"/>
                  <a:gd name="connsiteX29-399" fmla="*/ 2090436 w 4228786"/>
                  <a:gd name="connsiteY29-400" fmla="*/ 2381 h 4110786"/>
                  <a:gd name="connsiteX30-401" fmla="*/ 2295224 w 4228786"/>
                  <a:gd name="connsiteY30-402" fmla="*/ 0 h 4110786"/>
                  <a:gd name="connsiteX0-403" fmla="*/ 739525 w 4228949"/>
                  <a:gd name="connsiteY0-404" fmla="*/ 1079241 h 4110786"/>
                  <a:gd name="connsiteX1-405" fmla="*/ 742648 w 4228949"/>
                  <a:gd name="connsiteY1-406" fmla="*/ 1081087 h 4110786"/>
                  <a:gd name="connsiteX2-407" fmla="*/ 739525 w 4228949"/>
                  <a:gd name="connsiteY2-408" fmla="*/ 1079241 h 4110786"/>
                  <a:gd name="connsiteX3-409" fmla="*/ 468805 w 4228949"/>
                  <a:gd name="connsiteY3-410" fmla="*/ 919162 h 4110786"/>
                  <a:gd name="connsiteX4-411" fmla="*/ 470434 w 4228949"/>
                  <a:gd name="connsiteY4-412" fmla="*/ 920125 h 4110786"/>
                  <a:gd name="connsiteX5-413" fmla="*/ 468805 w 4228949"/>
                  <a:gd name="connsiteY5-414" fmla="*/ 919162 h 4110786"/>
                  <a:gd name="connsiteX6-415" fmla="*/ 2176945 w 4228949"/>
                  <a:gd name="connsiteY6-416" fmla="*/ 319178 h 4110786"/>
                  <a:gd name="connsiteX7-417" fmla="*/ 2269473 w 4228949"/>
                  <a:gd name="connsiteY7-418" fmla="*/ 323850 h 4110786"/>
                  <a:gd name="connsiteX8-419" fmla="*/ 2090436 w 4228949"/>
                  <a:gd name="connsiteY8-420" fmla="*/ 323850 h 4110786"/>
                  <a:gd name="connsiteX9-421" fmla="*/ 2090436 w 4228949"/>
                  <a:gd name="connsiteY9-422" fmla="*/ 323546 h 4110786"/>
                  <a:gd name="connsiteX10-423" fmla="*/ 2176945 w 4228949"/>
                  <a:gd name="connsiteY10-424" fmla="*/ 319178 h 4110786"/>
                  <a:gd name="connsiteX11-425" fmla="*/ 2290461 w 4228949"/>
                  <a:gd name="connsiteY11-426" fmla="*/ 323850 h 4110786"/>
                  <a:gd name="connsiteX12-427" fmla="*/ 4228786 w 4228949"/>
                  <a:gd name="connsiteY12-428" fmla="*/ 2058946 h 4110786"/>
                  <a:gd name="connsiteX13-429" fmla="*/ 2176946 w 4228949"/>
                  <a:gd name="connsiteY13-430" fmla="*/ 4110786 h 4110786"/>
                  <a:gd name="connsiteX14-431" fmla="*/ 125105 w 4228949"/>
                  <a:gd name="connsiteY14-432" fmla="*/ 2058946 h 4110786"/>
                  <a:gd name="connsiteX15-433" fmla="*/ 437178 w 4228949"/>
                  <a:gd name="connsiteY15-434" fmla="*/ 2058945 h 4110786"/>
                  <a:gd name="connsiteX16-435" fmla="*/ 2176945 w 4228949"/>
                  <a:gd name="connsiteY16-436" fmla="*/ 3798712 h 4110786"/>
                  <a:gd name="connsiteX17-437" fmla="*/ 3916711 w 4228949"/>
                  <a:gd name="connsiteY17-438" fmla="*/ 2058945 h 4110786"/>
                  <a:gd name="connsiteX18-439" fmla="*/ 2269473 w 4228949"/>
                  <a:gd name="connsiteY18-440" fmla="*/ 323850 h 4110786"/>
                  <a:gd name="connsiteX19-441" fmla="*/ 2290461 w 4228949"/>
                  <a:gd name="connsiteY19-442" fmla="*/ 323850 h 4110786"/>
                  <a:gd name="connsiteX20-443" fmla="*/ 2090436 w 4228949"/>
                  <a:gd name="connsiteY20-444" fmla="*/ 11473 h 4110786"/>
                  <a:gd name="connsiteX21-445" fmla="*/ 2090436 w 4228949"/>
                  <a:gd name="connsiteY21-446" fmla="*/ 323546 h 4110786"/>
                  <a:gd name="connsiteX22-447" fmla="*/ 739525 w 4228949"/>
                  <a:gd name="connsiteY22-448" fmla="*/ 1079241 h 4110786"/>
                  <a:gd name="connsiteX23-449" fmla="*/ 470434 w 4228949"/>
                  <a:gd name="connsiteY23-450" fmla="*/ 920125 h 4110786"/>
                  <a:gd name="connsiteX24-451" fmla="*/ 2090436 w 4228949"/>
                  <a:gd name="connsiteY24-452" fmla="*/ 11473 h 4110786"/>
                  <a:gd name="connsiteX25-453" fmla="*/ 2295224 w 4228949"/>
                  <a:gd name="connsiteY25-454" fmla="*/ 0 h 4110786"/>
                  <a:gd name="connsiteX26-455" fmla="*/ 2176946 w 4228949"/>
                  <a:gd name="connsiteY26-456" fmla="*/ 7105 h 4110786"/>
                  <a:gd name="connsiteX27-457" fmla="*/ 2090436 w 4228949"/>
                  <a:gd name="connsiteY27-458" fmla="*/ 11473 h 4110786"/>
                  <a:gd name="connsiteX28-459" fmla="*/ 2090436 w 4228949"/>
                  <a:gd name="connsiteY28-460" fmla="*/ 2381 h 4110786"/>
                  <a:gd name="connsiteX29-461" fmla="*/ 2295224 w 4228949"/>
                  <a:gd name="connsiteY29-462" fmla="*/ 0 h 4110786"/>
                  <a:gd name="connsiteX0-463" fmla="*/ 739525 w 4228949"/>
                  <a:gd name="connsiteY0-464" fmla="*/ 1076860 h 4108405"/>
                  <a:gd name="connsiteX1-465" fmla="*/ 742648 w 4228949"/>
                  <a:gd name="connsiteY1-466" fmla="*/ 1078706 h 4108405"/>
                  <a:gd name="connsiteX2-467" fmla="*/ 739525 w 4228949"/>
                  <a:gd name="connsiteY2-468" fmla="*/ 1076860 h 4108405"/>
                  <a:gd name="connsiteX3-469" fmla="*/ 468805 w 4228949"/>
                  <a:gd name="connsiteY3-470" fmla="*/ 916781 h 4108405"/>
                  <a:gd name="connsiteX4-471" fmla="*/ 470434 w 4228949"/>
                  <a:gd name="connsiteY4-472" fmla="*/ 917744 h 4108405"/>
                  <a:gd name="connsiteX5-473" fmla="*/ 468805 w 4228949"/>
                  <a:gd name="connsiteY5-474" fmla="*/ 916781 h 4108405"/>
                  <a:gd name="connsiteX6-475" fmla="*/ 2176945 w 4228949"/>
                  <a:gd name="connsiteY6-476" fmla="*/ 316797 h 4108405"/>
                  <a:gd name="connsiteX7-477" fmla="*/ 2269473 w 4228949"/>
                  <a:gd name="connsiteY7-478" fmla="*/ 321469 h 4108405"/>
                  <a:gd name="connsiteX8-479" fmla="*/ 2090436 w 4228949"/>
                  <a:gd name="connsiteY8-480" fmla="*/ 321469 h 4108405"/>
                  <a:gd name="connsiteX9-481" fmla="*/ 2090436 w 4228949"/>
                  <a:gd name="connsiteY9-482" fmla="*/ 321165 h 4108405"/>
                  <a:gd name="connsiteX10-483" fmla="*/ 2176945 w 4228949"/>
                  <a:gd name="connsiteY10-484" fmla="*/ 316797 h 4108405"/>
                  <a:gd name="connsiteX11-485" fmla="*/ 2290461 w 4228949"/>
                  <a:gd name="connsiteY11-486" fmla="*/ 321469 h 4108405"/>
                  <a:gd name="connsiteX12-487" fmla="*/ 4228786 w 4228949"/>
                  <a:gd name="connsiteY12-488" fmla="*/ 2056565 h 4108405"/>
                  <a:gd name="connsiteX13-489" fmla="*/ 2176946 w 4228949"/>
                  <a:gd name="connsiteY13-490" fmla="*/ 4108405 h 4108405"/>
                  <a:gd name="connsiteX14-491" fmla="*/ 125105 w 4228949"/>
                  <a:gd name="connsiteY14-492" fmla="*/ 2056565 h 4108405"/>
                  <a:gd name="connsiteX15-493" fmla="*/ 437178 w 4228949"/>
                  <a:gd name="connsiteY15-494" fmla="*/ 2056564 h 4108405"/>
                  <a:gd name="connsiteX16-495" fmla="*/ 2176945 w 4228949"/>
                  <a:gd name="connsiteY16-496" fmla="*/ 3796331 h 4108405"/>
                  <a:gd name="connsiteX17-497" fmla="*/ 3916711 w 4228949"/>
                  <a:gd name="connsiteY17-498" fmla="*/ 2056564 h 4108405"/>
                  <a:gd name="connsiteX18-499" fmla="*/ 2269473 w 4228949"/>
                  <a:gd name="connsiteY18-500" fmla="*/ 321469 h 4108405"/>
                  <a:gd name="connsiteX19-501" fmla="*/ 2290461 w 4228949"/>
                  <a:gd name="connsiteY19-502" fmla="*/ 321469 h 4108405"/>
                  <a:gd name="connsiteX20-503" fmla="*/ 2090436 w 4228949"/>
                  <a:gd name="connsiteY20-504" fmla="*/ 9092 h 4108405"/>
                  <a:gd name="connsiteX21-505" fmla="*/ 2090436 w 4228949"/>
                  <a:gd name="connsiteY21-506" fmla="*/ 321165 h 4108405"/>
                  <a:gd name="connsiteX22-507" fmla="*/ 739525 w 4228949"/>
                  <a:gd name="connsiteY22-508" fmla="*/ 1076860 h 4108405"/>
                  <a:gd name="connsiteX23-509" fmla="*/ 470434 w 4228949"/>
                  <a:gd name="connsiteY23-510" fmla="*/ 917744 h 4108405"/>
                  <a:gd name="connsiteX24-511" fmla="*/ 2090436 w 4228949"/>
                  <a:gd name="connsiteY24-512" fmla="*/ 9092 h 4108405"/>
                  <a:gd name="connsiteX25-513" fmla="*/ 2090436 w 4228949"/>
                  <a:gd name="connsiteY25-514" fmla="*/ 0 h 4108405"/>
                  <a:gd name="connsiteX26-515" fmla="*/ 2176946 w 4228949"/>
                  <a:gd name="connsiteY26-516" fmla="*/ 4724 h 4108405"/>
                  <a:gd name="connsiteX27-517" fmla="*/ 2090436 w 4228949"/>
                  <a:gd name="connsiteY27-518" fmla="*/ 9092 h 4108405"/>
                  <a:gd name="connsiteX28-519" fmla="*/ 2090436 w 4228949"/>
                  <a:gd name="connsiteY28-520" fmla="*/ 0 h 4108405"/>
                  <a:gd name="connsiteX0-521" fmla="*/ 739525 w 4228949"/>
                  <a:gd name="connsiteY0-522" fmla="*/ 1076860 h 4108405"/>
                  <a:gd name="connsiteX1-523" fmla="*/ 742648 w 4228949"/>
                  <a:gd name="connsiteY1-524" fmla="*/ 1078706 h 4108405"/>
                  <a:gd name="connsiteX2-525" fmla="*/ 739525 w 4228949"/>
                  <a:gd name="connsiteY2-526" fmla="*/ 1076860 h 4108405"/>
                  <a:gd name="connsiteX3-527" fmla="*/ 468805 w 4228949"/>
                  <a:gd name="connsiteY3-528" fmla="*/ 916781 h 4108405"/>
                  <a:gd name="connsiteX4-529" fmla="*/ 470434 w 4228949"/>
                  <a:gd name="connsiteY4-530" fmla="*/ 917744 h 4108405"/>
                  <a:gd name="connsiteX5-531" fmla="*/ 468805 w 4228949"/>
                  <a:gd name="connsiteY5-532" fmla="*/ 916781 h 4108405"/>
                  <a:gd name="connsiteX6-533" fmla="*/ 2176945 w 4228949"/>
                  <a:gd name="connsiteY6-534" fmla="*/ 316797 h 4108405"/>
                  <a:gd name="connsiteX7-535" fmla="*/ 2269473 w 4228949"/>
                  <a:gd name="connsiteY7-536" fmla="*/ 321469 h 4108405"/>
                  <a:gd name="connsiteX8-537" fmla="*/ 2090436 w 4228949"/>
                  <a:gd name="connsiteY8-538" fmla="*/ 321469 h 4108405"/>
                  <a:gd name="connsiteX9-539" fmla="*/ 2090436 w 4228949"/>
                  <a:gd name="connsiteY9-540" fmla="*/ 321165 h 4108405"/>
                  <a:gd name="connsiteX10-541" fmla="*/ 2176945 w 4228949"/>
                  <a:gd name="connsiteY10-542" fmla="*/ 316797 h 4108405"/>
                  <a:gd name="connsiteX11-543" fmla="*/ 2290461 w 4228949"/>
                  <a:gd name="connsiteY11-544" fmla="*/ 321469 h 4108405"/>
                  <a:gd name="connsiteX12-545" fmla="*/ 4228786 w 4228949"/>
                  <a:gd name="connsiteY12-546" fmla="*/ 2056565 h 4108405"/>
                  <a:gd name="connsiteX13-547" fmla="*/ 2176946 w 4228949"/>
                  <a:gd name="connsiteY13-548" fmla="*/ 4108405 h 4108405"/>
                  <a:gd name="connsiteX14-549" fmla="*/ 125105 w 4228949"/>
                  <a:gd name="connsiteY14-550" fmla="*/ 2056565 h 4108405"/>
                  <a:gd name="connsiteX15-551" fmla="*/ 437178 w 4228949"/>
                  <a:gd name="connsiteY15-552" fmla="*/ 2056564 h 4108405"/>
                  <a:gd name="connsiteX16-553" fmla="*/ 2176945 w 4228949"/>
                  <a:gd name="connsiteY16-554" fmla="*/ 3796331 h 4108405"/>
                  <a:gd name="connsiteX17-555" fmla="*/ 3916711 w 4228949"/>
                  <a:gd name="connsiteY17-556" fmla="*/ 2056564 h 4108405"/>
                  <a:gd name="connsiteX18-557" fmla="*/ 2269473 w 4228949"/>
                  <a:gd name="connsiteY18-558" fmla="*/ 321469 h 4108405"/>
                  <a:gd name="connsiteX19-559" fmla="*/ 2290461 w 4228949"/>
                  <a:gd name="connsiteY19-560" fmla="*/ 321469 h 4108405"/>
                  <a:gd name="connsiteX20-561" fmla="*/ 2090436 w 4228949"/>
                  <a:gd name="connsiteY20-562" fmla="*/ 9092 h 4108405"/>
                  <a:gd name="connsiteX21-563" fmla="*/ 2090436 w 4228949"/>
                  <a:gd name="connsiteY21-564" fmla="*/ 321165 h 4108405"/>
                  <a:gd name="connsiteX22-565" fmla="*/ 739525 w 4228949"/>
                  <a:gd name="connsiteY22-566" fmla="*/ 1076860 h 4108405"/>
                  <a:gd name="connsiteX23-567" fmla="*/ 470434 w 4228949"/>
                  <a:gd name="connsiteY23-568" fmla="*/ 917744 h 4108405"/>
                  <a:gd name="connsiteX24-569" fmla="*/ 2090436 w 4228949"/>
                  <a:gd name="connsiteY24-570" fmla="*/ 9092 h 4108405"/>
                  <a:gd name="connsiteX25-571" fmla="*/ 2090436 w 4228949"/>
                  <a:gd name="connsiteY25-572" fmla="*/ 0 h 4108405"/>
                  <a:gd name="connsiteX26-573" fmla="*/ 2090436 w 4228949"/>
                  <a:gd name="connsiteY26-574" fmla="*/ 9092 h 4108405"/>
                  <a:gd name="connsiteX27-575" fmla="*/ 2090436 w 4228949"/>
                  <a:gd name="connsiteY27-576" fmla="*/ 0 h 4108405"/>
                  <a:gd name="connsiteX0-577" fmla="*/ 739525 w 4228925"/>
                  <a:gd name="connsiteY0-578" fmla="*/ 1076860 h 4108405"/>
                  <a:gd name="connsiteX1-579" fmla="*/ 742648 w 4228925"/>
                  <a:gd name="connsiteY1-580" fmla="*/ 1078706 h 4108405"/>
                  <a:gd name="connsiteX2-581" fmla="*/ 739525 w 4228925"/>
                  <a:gd name="connsiteY2-582" fmla="*/ 1076860 h 4108405"/>
                  <a:gd name="connsiteX3-583" fmla="*/ 468805 w 4228925"/>
                  <a:gd name="connsiteY3-584" fmla="*/ 916781 h 4108405"/>
                  <a:gd name="connsiteX4-585" fmla="*/ 470434 w 4228925"/>
                  <a:gd name="connsiteY4-586" fmla="*/ 917744 h 4108405"/>
                  <a:gd name="connsiteX5-587" fmla="*/ 468805 w 4228925"/>
                  <a:gd name="connsiteY5-588" fmla="*/ 916781 h 4108405"/>
                  <a:gd name="connsiteX6-589" fmla="*/ 2176945 w 4228925"/>
                  <a:gd name="connsiteY6-590" fmla="*/ 316797 h 4108405"/>
                  <a:gd name="connsiteX7-591" fmla="*/ 2269473 w 4228925"/>
                  <a:gd name="connsiteY7-592" fmla="*/ 321469 h 4108405"/>
                  <a:gd name="connsiteX8-593" fmla="*/ 2090436 w 4228925"/>
                  <a:gd name="connsiteY8-594" fmla="*/ 321469 h 4108405"/>
                  <a:gd name="connsiteX9-595" fmla="*/ 2090436 w 4228925"/>
                  <a:gd name="connsiteY9-596" fmla="*/ 321165 h 4108405"/>
                  <a:gd name="connsiteX10-597" fmla="*/ 2176945 w 4228925"/>
                  <a:gd name="connsiteY10-598" fmla="*/ 316797 h 4108405"/>
                  <a:gd name="connsiteX11-599" fmla="*/ 2290461 w 4228925"/>
                  <a:gd name="connsiteY11-600" fmla="*/ 321469 h 4108405"/>
                  <a:gd name="connsiteX12-601" fmla="*/ 4228786 w 4228925"/>
                  <a:gd name="connsiteY12-602" fmla="*/ 2056565 h 4108405"/>
                  <a:gd name="connsiteX13-603" fmla="*/ 2176946 w 4228925"/>
                  <a:gd name="connsiteY13-604" fmla="*/ 4108405 h 4108405"/>
                  <a:gd name="connsiteX14-605" fmla="*/ 125105 w 4228925"/>
                  <a:gd name="connsiteY14-606" fmla="*/ 2056565 h 4108405"/>
                  <a:gd name="connsiteX15-607" fmla="*/ 437178 w 4228925"/>
                  <a:gd name="connsiteY15-608" fmla="*/ 2056564 h 4108405"/>
                  <a:gd name="connsiteX16-609" fmla="*/ 2176945 w 4228925"/>
                  <a:gd name="connsiteY16-610" fmla="*/ 3796331 h 4108405"/>
                  <a:gd name="connsiteX17-611" fmla="*/ 3916711 w 4228925"/>
                  <a:gd name="connsiteY17-612" fmla="*/ 2056564 h 4108405"/>
                  <a:gd name="connsiteX18-613" fmla="*/ 2290461 w 4228925"/>
                  <a:gd name="connsiteY18-614" fmla="*/ 321469 h 4108405"/>
                  <a:gd name="connsiteX19-615" fmla="*/ 2090436 w 4228925"/>
                  <a:gd name="connsiteY19-616" fmla="*/ 9092 h 4108405"/>
                  <a:gd name="connsiteX20-617" fmla="*/ 2090436 w 4228925"/>
                  <a:gd name="connsiteY20-618" fmla="*/ 321165 h 4108405"/>
                  <a:gd name="connsiteX21-619" fmla="*/ 739525 w 4228925"/>
                  <a:gd name="connsiteY21-620" fmla="*/ 1076860 h 4108405"/>
                  <a:gd name="connsiteX22-621" fmla="*/ 470434 w 4228925"/>
                  <a:gd name="connsiteY22-622" fmla="*/ 917744 h 4108405"/>
                  <a:gd name="connsiteX23-623" fmla="*/ 2090436 w 4228925"/>
                  <a:gd name="connsiteY23-624" fmla="*/ 9092 h 4108405"/>
                  <a:gd name="connsiteX24-625" fmla="*/ 2090436 w 4228925"/>
                  <a:gd name="connsiteY24-626" fmla="*/ 0 h 4108405"/>
                  <a:gd name="connsiteX25-627" fmla="*/ 2090436 w 4228925"/>
                  <a:gd name="connsiteY25-628" fmla="*/ 9092 h 4108405"/>
                  <a:gd name="connsiteX26-629" fmla="*/ 2090436 w 4228925"/>
                  <a:gd name="connsiteY26-630" fmla="*/ 0 h 4108405"/>
                  <a:gd name="connsiteX0-631" fmla="*/ 739525 w 4228925"/>
                  <a:gd name="connsiteY0-632" fmla="*/ 1076860 h 4108405"/>
                  <a:gd name="connsiteX1-633" fmla="*/ 742648 w 4228925"/>
                  <a:gd name="connsiteY1-634" fmla="*/ 1078706 h 4108405"/>
                  <a:gd name="connsiteX2-635" fmla="*/ 739525 w 4228925"/>
                  <a:gd name="connsiteY2-636" fmla="*/ 1076860 h 4108405"/>
                  <a:gd name="connsiteX3-637" fmla="*/ 468805 w 4228925"/>
                  <a:gd name="connsiteY3-638" fmla="*/ 916781 h 4108405"/>
                  <a:gd name="connsiteX4-639" fmla="*/ 470434 w 4228925"/>
                  <a:gd name="connsiteY4-640" fmla="*/ 917744 h 4108405"/>
                  <a:gd name="connsiteX5-641" fmla="*/ 468805 w 4228925"/>
                  <a:gd name="connsiteY5-642" fmla="*/ 916781 h 4108405"/>
                  <a:gd name="connsiteX6-643" fmla="*/ 2176945 w 4228925"/>
                  <a:gd name="connsiteY6-644" fmla="*/ 316797 h 4108405"/>
                  <a:gd name="connsiteX7-645" fmla="*/ 2090436 w 4228925"/>
                  <a:gd name="connsiteY7-646" fmla="*/ 321469 h 4108405"/>
                  <a:gd name="connsiteX8-647" fmla="*/ 2090436 w 4228925"/>
                  <a:gd name="connsiteY8-648" fmla="*/ 321165 h 4108405"/>
                  <a:gd name="connsiteX9-649" fmla="*/ 2176945 w 4228925"/>
                  <a:gd name="connsiteY9-650" fmla="*/ 316797 h 4108405"/>
                  <a:gd name="connsiteX10-651" fmla="*/ 2290461 w 4228925"/>
                  <a:gd name="connsiteY10-652" fmla="*/ 321469 h 4108405"/>
                  <a:gd name="connsiteX11-653" fmla="*/ 4228786 w 4228925"/>
                  <a:gd name="connsiteY11-654" fmla="*/ 2056565 h 4108405"/>
                  <a:gd name="connsiteX12-655" fmla="*/ 2176946 w 4228925"/>
                  <a:gd name="connsiteY12-656" fmla="*/ 4108405 h 4108405"/>
                  <a:gd name="connsiteX13-657" fmla="*/ 125105 w 4228925"/>
                  <a:gd name="connsiteY13-658" fmla="*/ 2056565 h 4108405"/>
                  <a:gd name="connsiteX14-659" fmla="*/ 437178 w 4228925"/>
                  <a:gd name="connsiteY14-660" fmla="*/ 2056564 h 4108405"/>
                  <a:gd name="connsiteX15-661" fmla="*/ 2176945 w 4228925"/>
                  <a:gd name="connsiteY15-662" fmla="*/ 3796331 h 4108405"/>
                  <a:gd name="connsiteX16-663" fmla="*/ 3916711 w 4228925"/>
                  <a:gd name="connsiteY16-664" fmla="*/ 2056564 h 4108405"/>
                  <a:gd name="connsiteX17-665" fmla="*/ 2290461 w 4228925"/>
                  <a:gd name="connsiteY17-666" fmla="*/ 321469 h 4108405"/>
                  <a:gd name="connsiteX18-667" fmla="*/ 2090436 w 4228925"/>
                  <a:gd name="connsiteY18-668" fmla="*/ 9092 h 4108405"/>
                  <a:gd name="connsiteX19-669" fmla="*/ 2090436 w 4228925"/>
                  <a:gd name="connsiteY19-670" fmla="*/ 321165 h 4108405"/>
                  <a:gd name="connsiteX20-671" fmla="*/ 739525 w 4228925"/>
                  <a:gd name="connsiteY20-672" fmla="*/ 1076860 h 4108405"/>
                  <a:gd name="connsiteX21-673" fmla="*/ 470434 w 4228925"/>
                  <a:gd name="connsiteY21-674" fmla="*/ 917744 h 4108405"/>
                  <a:gd name="connsiteX22-675" fmla="*/ 2090436 w 4228925"/>
                  <a:gd name="connsiteY22-676" fmla="*/ 9092 h 4108405"/>
                  <a:gd name="connsiteX23-677" fmla="*/ 2090436 w 4228925"/>
                  <a:gd name="connsiteY23-678" fmla="*/ 0 h 4108405"/>
                  <a:gd name="connsiteX24-679" fmla="*/ 2090436 w 4228925"/>
                  <a:gd name="connsiteY24-680" fmla="*/ 9092 h 4108405"/>
                  <a:gd name="connsiteX25-681" fmla="*/ 2090436 w 4228925"/>
                  <a:gd name="connsiteY25-682" fmla="*/ 0 h 4108405"/>
                  <a:gd name="connsiteX0-683" fmla="*/ 739525 w 4228925"/>
                  <a:gd name="connsiteY0-684" fmla="*/ 1076860 h 4108405"/>
                  <a:gd name="connsiteX1-685" fmla="*/ 742648 w 4228925"/>
                  <a:gd name="connsiteY1-686" fmla="*/ 1078706 h 4108405"/>
                  <a:gd name="connsiteX2-687" fmla="*/ 739525 w 4228925"/>
                  <a:gd name="connsiteY2-688" fmla="*/ 1076860 h 4108405"/>
                  <a:gd name="connsiteX3-689" fmla="*/ 468805 w 4228925"/>
                  <a:gd name="connsiteY3-690" fmla="*/ 916781 h 4108405"/>
                  <a:gd name="connsiteX4-691" fmla="*/ 470434 w 4228925"/>
                  <a:gd name="connsiteY4-692" fmla="*/ 917744 h 4108405"/>
                  <a:gd name="connsiteX5-693" fmla="*/ 468805 w 4228925"/>
                  <a:gd name="connsiteY5-694" fmla="*/ 916781 h 4108405"/>
                  <a:gd name="connsiteX6-695" fmla="*/ 2090436 w 4228925"/>
                  <a:gd name="connsiteY6-696" fmla="*/ 321165 h 4108405"/>
                  <a:gd name="connsiteX7-697" fmla="*/ 2090436 w 4228925"/>
                  <a:gd name="connsiteY7-698" fmla="*/ 321469 h 4108405"/>
                  <a:gd name="connsiteX8-699" fmla="*/ 2090436 w 4228925"/>
                  <a:gd name="connsiteY8-700" fmla="*/ 321165 h 4108405"/>
                  <a:gd name="connsiteX9-701" fmla="*/ 2290461 w 4228925"/>
                  <a:gd name="connsiteY9-702" fmla="*/ 321469 h 4108405"/>
                  <a:gd name="connsiteX10-703" fmla="*/ 4228786 w 4228925"/>
                  <a:gd name="connsiteY10-704" fmla="*/ 2056565 h 4108405"/>
                  <a:gd name="connsiteX11-705" fmla="*/ 2176946 w 4228925"/>
                  <a:gd name="connsiteY11-706" fmla="*/ 4108405 h 4108405"/>
                  <a:gd name="connsiteX12-707" fmla="*/ 125105 w 4228925"/>
                  <a:gd name="connsiteY12-708" fmla="*/ 2056565 h 4108405"/>
                  <a:gd name="connsiteX13-709" fmla="*/ 437178 w 4228925"/>
                  <a:gd name="connsiteY13-710" fmla="*/ 2056564 h 4108405"/>
                  <a:gd name="connsiteX14-711" fmla="*/ 2176945 w 4228925"/>
                  <a:gd name="connsiteY14-712" fmla="*/ 3796331 h 4108405"/>
                  <a:gd name="connsiteX15-713" fmla="*/ 3916711 w 4228925"/>
                  <a:gd name="connsiteY15-714" fmla="*/ 2056564 h 4108405"/>
                  <a:gd name="connsiteX16-715" fmla="*/ 2290461 w 4228925"/>
                  <a:gd name="connsiteY16-716" fmla="*/ 321469 h 4108405"/>
                  <a:gd name="connsiteX17-717" fmla="*/ 2090436 w 4228925"/>
                  <a:gd name="connsiteY17-718" fmla="*/ 9092 h 4108405"/>
                  <a:gd name="connsiteX18-719" fmla="*/ 2090436 w 4228925"/>
                  <a:gd name="connsiteY18-720" fmla="*/ 321165 h 4108405"/>
                  <a:gd name="connsiteX19-721" fmla="*/ 739525 w 4228925"/>
                  <a:gd name="connsiteY19-722" fmla="*/ 1076860 h 4108405"/>
                  <a:gd name="connsiteX20-723" fmla="*/ 470434 w 4228925"/>
                  <a:gd name="connsiteY20-724" fmla="*/ 917744 h 4108405"/>
                  <a:gd name="connsiteX21-725" fmla="*/ 2090436 w 4228925"/>
                  <a:gd name="connsiteY21-726" fmla="*/ 9092 h 4108405"/>
                  <a:gd name="connsiteX22-727" fmla="*/ 2090436 w 4228925"/>
                  <a:gd name="connsiteY22-728" fmla="*/ 0 h 4108405"/>
                  <a:gd name="connsiteX23-729" fmla="*/ 2090436 w 4228925"/>
                  <a:gd name="connsiteY23-730" fmla="*/ 9092 h 4108405"/>
                  <a:gd name="connsiteX24-731" fmla="*/ 2090436 w 4228925"/>
                  <a:gd name="connsiteY24-732" fmla="*/ 0 h 4108405"/>
                  <a:gd name="connsiteX0-733" fmla="*/ 739525 w 4228925"/>
                  <a:gd name="connsiteY0-734" fmla="*/ 1067768 h 4099313"/>
                  <a:gd name="connsiteX1-735" fmla="*/ 742648 w 4228925"/>
                  <a:gd name="connsiteY1-736" fmla="*/ 1069614 h 4099313"/>
                  <a:gd name="connsiteX2-737" fmla="*/ 739525 w 4228925"/>
                  <a:gd name="connsiteY2-738" fmla="*/ 1067768 h 4099313"/>
                  <a:gd name="connsiteX3-739" fmla="*/ 468805 w 4228925"/>
                  <a:gd name="connsiteY3-740" fmla="*/ 907689 h 4099313"/>
                  <a:gd name="connsiteX4-741" fmla="*/ 470434 w 4228925"/>
                  <a:gd name="connsiteY4-742" fmla="*/ 908652 h 4099313"/>
                  <a:gd name="connsiteX5-743" fmla="*/ 468805 w 4228925"/>
                  <a:gd name="connsiteY5-744" fmla="*/ 907689 h 4099313"/>
                  <a:gd name="connsiteX6-745" fmla="*/ 2090436 w 4228925"/>
                  <a:gd name="connsiteY6-746" fmla="*/ 312073 h 4099313"/>
                  <a:gd name="connsiteX7-747" fmla="*/ 2090436 w 4228925"/>
                  <a:gd name="connsiteY7-748" fmla="*/ 312377 h 4099313"/>
                  <a:gd name="connsiteX8-749" fmla="*/ 2090436 w 4228925"/>
                  <a:gd name="connsiteY8-750" fmla="*/ 312073 h 4099313"/>
                  <a:gd name="connsiteX9-751" fmla="*/ 2290461 w 4228925"/>
                  <a:gd name="connsiteY9-752" fmla="*/ 312377 h 4099313"/>
                  <a:gd name="connsiteX10-753" fmla="*/ 4228786 w 4228925"/>
                  <a:gd name="connsiteY10-754" fmla="*/ 2047473 h 4099313"/>
                  <a:gd name="connsiteX11-755" fmla="*/ 2176946 w 4228925"/>
                  <a:gd name="connsiteY11-756" fmla="*/ 4099313 h 4099313"/>
                  <a:gd name="connsiteX12-757" fmla="*/ 125105 w 4228925"/>
                  <a:gd name="connsiteY12-758" fmla="*/ 2047473 h 4099313"/>
                  <a:gd name="connsiteX13-759" fmla="*/ 437178 w 4228925"/>
                  <a:gd name="connsiteY13-760" fmla="*/ 2047472 h 4099313"/>
                  <a:gd name="connsiteX14-761" fmla="*/ 2176945 w 4228925"/>
                  <a:gd name="connsiteY14-762" fmla="*/ 3787239 h 4099313"/>
                  <a:gd name="connsiteX15-763" fmla="*/ 3916711 w 4228925"/>
                  <a:gd name="connsiteY15-764" fmla="*/ 2047472 h 4099313"/>
                  <a:gd name="connsiteX16-765" fmla="*/ 2290461 w 4228925"/>
                  <a:gd name="connsiteY16-766" fmla="*/ 312377 h 4099313"/>
                  <a:gd name="connsiteX17-767" fmla="*/ 2090436 w 4228925"/>
                  <a:gd name="connsiteY17-768" fmla="*/ 0 h 4099313"/>
                  <a:gd name="connsiteX18-769" fmla="*/ 2090436 w 4228925"/>
                  <a:gd name="connsiteY18-770" fmla="*/ 312073 h 4099313"/>
                  <a:gd name="connsiteX19-771" fmla="*/ 739525 w 4228925"/>
                  <a:gd name="connsiteY19-772" fmla="*/ 1067768 h 4099313"/>
                  <a:gd name="connsiteX20-773" fmla="*/ 470434 w 4228925"/>
                  <a:gd name="connsiteY20-774" fmla="*/ 908652 h 4099313"/>
                  <a:gd name="connsiteX21-775" fmla="*/ 2090436 w 4228925"/>
                  <a:gd name="connsiteY21-776" fmla="*/ 0 h 4099313"/>
                  <a:gd name="connsiteX0-777" fmla="*/ 739525 w 4353891"/>
                  <a:gd name="connsiteY0-778" fmla="*/ 1067768 h 4099313"/>
                  <a:gd name="connsiteX1-779" fmla="*/ 742648 w 4353891"/>
                  <a:gd name="connsiteY1-780" fmla="*/ 1069614 h 4099313"/>
                  <a:gd name="connsiteX2-781" fmla="*/ 739525 w 4353891"/>
                  <a:gd name="connsiteY2-782" fmla="*/ 1067768 h 4099313"/>
                  <a:gd name="connsiteX3-783" fmla="*/ 468805 w 4353891"/>
                  <a:gd name="connsiteY3-784" fmla="*/ 907689 h 4099313"/>
                  <a:gd name="connsiteX4-785" fmla="*/ 470434 w 4353891"/>
                  <a:gd name="connsiteY4-786" fmla="*/ 908652 h 4099313"/>
                  <a:gd name="connsiteX5-787" fmla="*/ 468805 w 4353891"/>
                  <a:gd name="connsiteY5-788" fmla="*/ 907689 h 4099313"/>
                  <a:gd name="connsiteX6-789" fmla="*/ 2090436 w 4353891"/>
                  <a:gd name="connsiteY6-790" fmla="*/ 312073 h 4099313"/>
                  <a:gd name="connsiteX7-791" fmla="*/ 2090436 w 4353891"/>
                  <a:gd name="connsiteY7-792" fmla="*/ 312377 h 4099313"/>
                  <a:gd name="connsiteX8-793" fmla="*/ 2090436 w 4353891"/>
                  <a:gd name="connsiteY8-794" fmla="*/ 312073 h 4099313"/>
                  <a:gd name="connsiteX9-795" fmla="*/ 3916711 w 4353891"/>
                  <a:gd name="connsiteY9-796" fmla="*/ 2047472 h 4099313"/>
                  <a:gd name="connsiteX10-797" fmla="*/ 4228786 w 4353891"/>
                  <a:gd name="connsiteY10-798" fmla="*/ 2047473 h 4099313"/>
                  <a:gd name="connsiteX11-799" fmla="*/ 2176946 w 4353891"/>
                  <a:gd name="connsiteY11-800" fmla="*/ 4099313 h 4099313"/>
                  <a:gd name="connsiteX12-801" fmla="*/ 125105 w 4353891"/>
                  <a:gd name="connsiteY12-802" fmla="*/ 2047473 h 4099313"/>
                  <a:gd name="connsiteX13-803" fmla="*/ 437178 w 4353891"/>
                  <a:gd name="connsiteY13-804" fmla="*/ 2047472 h 4099313"/>
                  <a:gd name="connsiteX14-805" fmla="*/ 2176945 w 4353891"/>
                  <a:gd name="connsiteY14-806" fmla="*/ 3787239 h 4099313"/>
                  <a:gd name="connsiteX15-807" fmla="*/ 3916711 w 4353891"/>
                  <a:gd name="connsiteY15-808" fmla="*/ 2047472 h 4099313"/>
                  <a:gd name="connsiteX16-809" fmla="*/ 2090436 w 4353891"/>
                  <a:gd name="connsiteY16-810" fmla="*/ 0 h 4099313"/>
                  <a:gd name="connsiteX17-811" fmla="*/ 2090436 w 4353891"/>
                  <a:gd name="connsiteY17-812" fmla="*/ 312073 h 4099313"/>
                  <a:gd name="connsiteX18-813" fmla="*/ 739525 w 4353891"/>
                  <a:gd name="connsiteY18-814" fmla="*/ 1067768 h 4099313"/>
                  <a:gd name="connsiteX19-815" fmla="*/ 470434 w 4353891"/>
                  <a:gd name="connsiteY19-816" fmla="*/ 908652 h 4099313"/>
                  <a:gd name="connsiteX20-817" fmla="*/ 2090436 w 4353891"/>
                  <a:gd name="connsiteY20-818" fmla="*/ 0 h 4099313"/>
                  <a:gd name="connsiteX0-819" fmla="*/ 614420 w 4228786"/>
                  <a:gd name="connsiteY0-820" fmla="*/ 1067768 h 4099313"/>
                  <a:gd name="connsiteX1-821" fmla="*/ 617543 w 4228786"/>
                  <a:gd name="connsiteY1-822" fmla="*/ 1069614 h 4099313"/>
                  <a:gd name="connsiteX2-823" fmla="*/ 614420 w 4228786"/>
                  <a:gd name="connsiteY2-824" fmla="*/ 1067768 h 4099313"/>
                  <a:gd name="connsiteX3-825" fmla="*/ 343700 w 4228786"/>
                  <a:gd name="connsiteY3-826" fmla="*/ 907689 h 4099313"/>
                  <a:gd name="connsiteX4-827" fmla="*/ 345329 w 4228786"/>
                  <a:gd name="connsiteY4-828" fmla="*/ 908652 h 4099313"/>
                  <a:gd name="connsiteX5-829" fmla="*/ 343700 w 4228786"/>
                  <a:gd name="connsiteY5-830" fmla="*/ 907689 h 4099313"/>
                  <a:gd name="connsiteX6-831" fmla="*/ 1965331 w 4228786"/>
                  <a:gd name="connsiteY6-832" fmla="*/ 312073 h 4099313"/>
                  <a:gd name="connsiteX7-833" fmla="*/ 1965331 w 4228786"/>
                  <a:gd name="connsiteY7-834" fmla="*/ 312377 h 4099313"/>
                  <a:gd name="connsiteX8-835" fmla="*/ 1965331 w 4228786"/>
                  <a:gd name="connsiteY8-836" fmla="*/ 312073 h 4099313"/>
                  <a:gd name="connsiteX9-837" fmla="*/ 3791606 w 4228786"/>
                  <a:gd name="connsiteY9-838" fmla="*/ 2047472 h 4099313"/>
                  <a:gd name="connsiteX10-839" fmla="*/ 4103681 w 4228786"/>
                  <a:gd name="connsiteY10-840" fmla="*/ 2047473 h 4099313"/>
                  <a:gd name="connsiteX11-841" fmla="*/ 2051841 w 4228786"/>
                  <a:gd name="connsiteY11-842" fmla="*/ 4099313 h 4099313"/>
                  <a:gd name="connsiteX12-843" fmla="*/ 0 w 4228786"/>
                  <a:gd name="connsiteY12-844" fmla="*/ 2047473 h 4099313"/>
                  <a:gd name="connsiteX13-845" fmla="*/ 2051840 w 4228786"/>
                  <a:gd name="connsiteY13-846" fmla="*/ 3787239 h 4099313"/>
                  <a:gd name="connsiteX14-847" fmla="*/ 3791606 w 4228786"/>
                  <a:gd name="connsiteY14-848" fmla="*/ 2047472 h 4099313"/>
                  <a:gd name="connsiteX15-849" fmla="*/ 1965331 w 4228786"/>
                  <a:gd name="connsiteY15-850" fmla="*/ 0 h 4099313"/>
                  <a:gd name="connsiteX16-851" fmla="*/ 1965331 w 4228786"/>
                  <a:gd name="connsiteY16-852" fmla="*/ 312073 h 4099313"/>
                  <a:gd name="connsiteX17-853" fmla="*/ 614420 w 4228786"/>
                  <a:gd name="connsiteY17-854" fmla="*/ 1067768 h 4099313"/>
                  <a:gd name="connsiteX18-855" fmla="*/ 345329 w 4228786"/>
                  <a:gd name="connsiteY18-856" fmla="*/ 908652 h 4099313"/>
                  <a:gd name="connsiteX19-857" fmla="*/ 1965331 w 4228786"/>
                  <a:gd name="connsiteY19-858" fmla="*/ 0 h 4099313"/>
                  <a:gd name="connsiteX0-859" fmla="*/ 270720 w 3885086"/>
                  <a:gd name="connsiteY0-860" fmla="*/ 1067768 h 4224418"/>
                  <a:gd name="connsiteX1-861" fmla="*/ 273843 w 3885086"/>
                  <a:gd name="connsiteY1-862" fmla="*/ 1069614 h 4224418"/>
                  <a:gd name="connsiteX2-863" fmla="*/ 270720 w 3885086"/>
                  <a:gd name="connsiteY2-864" fmla="*/ 1067768 h 4224418"/>
                  <a:gd name="connsiteX3-865" fmla="*/ 0 w 3885086"/>
                  <a:gd name="connsiteY3-866" fmla="*/ 907689 h 4224418"/>
                  <a:gd name="connsiteX4-867" fmla="*/ 1629 w 3885086"/>
                  <a:gd name="connsiteY4-868" fmla="*/ 908652 h 4224418"/>
                  <a:gd name="connsiteX5-869" fmla="*/ 0 w 3885086"/>
                  <a:gd name="connsiteY5-870" fmla="*/ 907689 h 4224418"/>
                  <a:gd name="connsiteX6-871" fmla="*/ 1621631 w 3885086"/>
                  <a:gd name="connsiteY6-872" fmla="*/ 312073 h 4224418"/>
                  <a:gd name="connsiteX7-873" fmla="*/ 1621631 w 3885086"/>
                  <a:gd name="connsiteY7-874" fmla="*/ 312377 h 4224418"/>
                  <a:gd name="connsiteX8-875" fmla="*/ 1621631 w 3885086"/>
                  <a:gd name="connsiteY8-876" fmla="*/ 312073 h 4224418"/>
                  <a:gd name="connsiteX9-877" fmla="*/ 3447906 w 3885086"/>
                  <a:gd name="connsiteY9-878" fmla="*/ 2047472 h 4224418"/>
                  <a:gd name="connsiteX10-879" fmla="*/ 3759981 w 3885086"/>
                  <a:gd name="connsiteY10-880" fmla="*/ 2047473 h 4224418"/>
                  <a:gd name="connsiteX11-881" fmla="*/ 1708141 w 3885086"/>
                  <a:gd name="connsiteY11-882" fmla="*/ 4099313 h 4224418"/>
                  <a:gd name="connsiteX12-883" fmla="*/ 1708140 w 3885086"/>
                  <a:gd name="connsiteY12-884" fmla="*/ 3787239 h 4224418"/>
                  <a:gd name="connsiteX13-885" fmla="*/ 3447906 w 3885086"/>
                  <a:gd name="connsiteY13-886" fmla="*/ 2047472 h 4224418"/>
                  <a:gd name="connsiteX14-887" fmla="*/ 1621631 w 3885086"/>
                  <a:gd name="connsiteY14-888" fmla="*/ 0 h 4224418"/>
                  <a:gd name="connsiteX15-889" fmla="*/ 1621631 w 3885086"/>
                  <a:gd name="connsiteY15-890" fmla="*/ 312073 h 4224418"/>
                  <a:gd name="connsiteX16-891" fmla="*/ 270720 w 3885086"/>
                  <a:gd name="connsiteY16-892" fmla="*/ 1067768 h 4224418"/>
                  <a:gd name="connsiteX17-893" fmla="*/ 1629 w 3885086"/>
                  <a:gd name="connsiteY17-894" fmla="*/ 908652 h 4224418"/>
                  <a:gd name="connsiteX18-895" fmla="*/ 1621631 w 3885086"/>
                  <a:gd name="connsiteY18-896" fmla="*/ 0 h 4224418"/>
                  <a:gd name="connsiteX0-897" fmla="*/ 270720 w 3885086"/>
                  <a:gd name="connsiteY0-898" fmla="*/ 1067768 h 4099313"/>
                  <a:gd name="connsiteX1-899" fmla="*/ 273843 w 3885086"/>
                  <a:gd name="connsiteY1-900" fmla="*/ 1069614 h 4099313"/>
                  <a:gd name="connsiteX2-901" fmla="*/ 270720 w 3885086"/>
                  <a:gd name="connsiteY2-902" fmla="*/ 1067768 h 4099313"/>
                  <a:gd name="connsiteX3-903" fmla="*/ 0 w 3885086"/>
                  <a:gd name="connsiteY3-904" fmla="*/ 907689 h 4099313"/>
                  <a:gd name="connsiteX4-905" fmla="*/ 1629 w 3885086"/>
                  <a:gd name="connsiteY4-906" fmla="*/ 908652 h 4099313"/>
                  <a:gd name="connsiteX5-907" fmla="*/ 0 w 3885086"/>
                  <a:gd name="connsiteY5-908" fmla="*/ 907689 h 4099313"/>
                  <a:gd name="connsiteX6-909" fmla="*/ 1621631 w 3885086"/>
                  <a:gd name="connsiteY6-910" fmla="*/ 312073 h 4099313"/>
                  <a:gd name="connsiteX7-911" fmla="*/ 1621631 w 3885086"/>
                  <a:gd name="connsiteY7-912" fmla="*/ 312377 h 4099313"/>
                  <a:gd name="connsiteX8-913" fmla="*/ 1621631 w 3885086"/>
                  <a:gd name="connsiteY8-914" fmla="*/ 312073 h 4099313"/>
                  <a:gd name="connsiteX9-915" fmla="*/ 3447906 w 3885086"/>
                  <a:gd name="connsiteY9-916" fmla="*/ 2047472 h 4099313"/>
                  <a:gd name="connsiteX10-917" fmla="*/ 3759981 w 3885086"/>
                  <a:gd name="connsiteY10-918" fmla="*/ 2047473 h 4099313"/>
                  <a:gd name="connsiteX11-919" fmla="*/ 1708141 w 3885086"/>
                  <a:gd name="connsiteY11-920" fmla="*/ 4099313 h 4099313"/>
                  <a:gd name="connsiteX12-921" fmla="*/ 3447906 w 3885086"/>
                  <a:gd name="connsiteY12-922" fmla="*/ 2047472 h 4099313"/>
                  <a:gd name="connsiteX13-923" fmla="*/ 1621631 w 3885086"/>
                  <a:gd name="connsiteY13-924" fmla="*/ 0 h 4099313"/>
                  <a:gd name="connsiteX14-925" fmla="*/ 1621631 w 3885086"/>
                  <a:gd name="connsiteY14-926" fmla="*/ 312073 h 4099313"/>
                  <a:gd name="connsiteX15-927" fmla="*/ 270720 w 3885086"/>
                  <a:gd name="connsiteY15-928" fmla="*/ 1067768 h 4099313"/>
                  <a:gd name="connsiteX16-929" fmla="*/ 1629 w 3885086"/>
                  <a:gd name="connsiteY16-930" fmla="*/ 908652 h 4099313"/>
                  <a:gd name="connsiteX17-931" fmla="*/ 1621631 w 3885086"/>
                  <a:gd name="connsiteY17-932" fmla="*/ 0 h 4099313"/>
                  <a:gd name="connsiteX0-933" fmla="*/ 270720 w 3760643"/>
                  <a:gd name="connsiteY0-934" fmla="*/ 1067768 h 2047473"/>
                  <a:gd name="connsiteX1-935" fmla="*/ 273843 w 3760643"/>
                  <a:gd name="connsiteY1-936" fmla="*/ 1069614 h 2047473"/>
                  <a:gd name="connsiteX2-937" fmla="*/ 270720 w 3760643"/>
                  <a:gd name="connsiteY2-938" fmla="*/ 1067768 h 2047473"/>
                  <a:gd name="connsiteX3-939" fmla="*/ 0 w 3760643"/>
                  <a:gd name="connsiteY3-940" fmla="*/ 907689 h 2047473"/>
                  <a:gd name="connsiteX4-941" fmla="*/ 1629 w 3760643"/>
                  <a:gd name="connsiteY4-942" fmla="*/ 908652 h 2047473"/>
                  <a:gd name="connsiteX5-943" fmla="*/ 0 w 3760643"/>
                  <a:gd name="connsiteY5-944" fmla="*/ 907689 h 2047473"/>
                  <a:gd name="connsiteX6-945" fmla="*/ 1621631 w 3760643"/>
                  <a:gd name="connsiteY6-946" fmla="*/ 312073 h 2047473"/>
                  <a:gd name="connsiteX7-947" fmla="*/ 1621631 w 3760643"/>
                  <a:gd name="connsiteY7-948" fmla="*/ 312377 h 2047473"/>
                  <a:gd name="connsiteX8-949" fmla="*/ 1621631 w 3760643"/>
                  <a:gd name="connsiteY8-950" fmla="*/ 312073 h 2047473"/>
                  <a:gd name="connsiteX9-951" fmla="*/ 3447906 w 3760643"/>
                  <a:gd name="connsiteY9-952" fmla="*/ 2047472 h 2047473"/>
                  <a:gd name="connsiteX10-953" fmla="*/ 3759981 w 3760643"/>
                  <a:gd name="connsiteY10-954" fmla="*/ 2047473 h 2047473"/>
                  <a:gd name="connsiteX11-955" fmla="*/ 3447906 w 3760643"/>
                  <a:gd name="connsiteY11-956" fmla="*/ 2047472 h 2047473"/>
                  <a:gd name="connsiteX12-957" fmla="*/ 1621631 w 3760643"/>
                  <a:gd name="connsiteY12-958" fmla="*/ 0 h 2047473"/>
                  <a:gd name="connsiteX13-959" fmla="*/ 1621631 w 3760643"/>
                  <a:gd name="connsiteY13-960" fmla="*/ 312073 h 2047473"/>
                  <a:gd name="connsiteX14-961" fmla="*/ 270720 w 3760643"/>
                  <a:gd name="connsiteY14-962" fmla="*/ 1067768 h 2047473"/>
                  <a:gd name="connsiteX15-963" fmla="*/ 1629 w 3760643"/>
                  <a:gd name="connsiteY15-964" fmla="*/ 908652 h 2047473"/>
                  <a:gd name="connsiteX16-965" fmla="*/ 1621631 w 3760643"/>
                  <a:gd name="connsiteY16-966" fmla="*/ 0 h 2047473"/>
                  <a:gd name="connsiteX0-967" fmla="*/ 270720 w 1621631"/>
                  <a:gd name="connsiteY0-968" fmla="*/ 1067768 h 1069614"/>
                  <a:gd name="connsiteX1-969" fmla="*/ 273843 w 1621631"/>
                  <a:gd name="connsiteY1-970" fmla="*/ 1069614 h 1069614"/>
                  <a:gd name="connsiteX2-971" fmla="*/ 270720 w 1621631"/>
                  <a:gd name="connsiteY2-972" fmla="*/ 1067768 h 1069614"/>
                  <a:gd name="connsiteX3-973" fmla="*/ 0 w 1621631"/>
                  <a:gd name="connsiteY3-974" fmla="*/ 907689 h 1069614"/>
                  <a:gd name="connsiteX4-975" fmla="*/ 1629 w 1621631"/>
                  <a:gd name="connsiteY4-976" fmla="*/ 908652 h 1069614"/>
                  <a:gd name="connsiteX5-977" fmla="*/ 0 w 1621631"/>
                  <a:gd name="connsiteY5-978" fmla="*/ 907689 h 1069614"/>
                  <a:gd name="connsiteX6-979" fmla="*/ 1621631 w 1621631"/>
                  <a:gd name="connsiteY6-980" fmla="*/ 312073 h 1069614"/>
                  <a:gd name="connsiteX7-981" fmla="*/ 1621631 w 1621631"/>
                  <a:gd name="connsiteY7-982" fmla="*/ 312377 h 1069614"/>
                  <a:gd name="connsiteX8-983" fmla="*/ 1621631 w 1621631"/>
                  <a:gd name="connsiteY8-984" fmla="*/ 312073 h 1069614"/>
                  <a:gd name="connsiteX9-985" fmla="*/ 1621631 w 1621631"/>
                  <a:gd name="connsiteY9-986" fmla="*/ 0 h 1069614"/>
                  <a:gd name="connsiteX10-987" fmla="*/ 1621631 w 1621631"/>
                  <a:gd name="connsiteY10-988" fmla="*/ 312073 h 1069614"/>
                  <a:gd name="connsiteX11-989" fmla="*/ 270720 w 1621631"/>
                  <a:gd name="connsiteY11-990" fmla="*/ 1067768 h 1069614"/>
                  <a:gd name="connsiteX12-991" fmla="*/ 1629 w 1621631"/>
                  <a:gd name="connsiteY12-992" fmla="*/ 908652 h 1069614"/>
                  <a:gd name="connsiteX13-993" fmla="*/ 1621631 w 1621631"/>
                  <a:gd name="connsiteY13-994" fmla="*/ 0 h 1069614"/>
                </a:gdLst>
                <a:ahLst/>
                <a:cxnLst>
                  <a:cxn ang="0">
                    <a:pos x="connsiteX0-1" y="connsiteY0-2"/>
                  </a:cxn>
                  <a:cxn ang="0">
                    <a:pos x="connsiteX1-3" y="connsiteY1-4"/>
                  </a:cxn>
                  <a:cxn ang="0">
                    <a:pos x="connsiteX2-5" y="connsiteY2-6"/>
                  </a:cxn>
                  <a:cxn ang="0">
                    <a:pos x="connsiteX3-7" y="connsiteY3-8"/>
                  </a:cxn>
                  <a:cxn ang="0">
                    <a:pos x="connsiteX4-9" y="connsiteY4-10"/>
                  </a:cxn>
                  <a:cxn ang="0">
                    <a:pos x="connsiteX5-11" y="connsiteY5-12"/>
                  </a:cxn>
                  <a:cxn ang="0">
                    <a:pos x="connsiteX6-13" y="connsiteY6-14"/>
                  </a:cxn>
                  <a:cxn ang="0">
                    <a:pos x="connsiteX7-15" y="connsiteY7-16"/>
                  </a:cxn>
                  <a:cxn ang="0">
                    <a:pos x="connsiteX8-17" y="connsiteY8-18"/>
                  </a:cxn>
                  <a:cxn ang="0">
                    <a:pos x="connsiteX9-19" y="connsiteY9-20"/>
                  </a:cxn>
                  <a:cxn ang="0">
                    <a:pos x="connsiteX10-21" y="connsiteY10-22"/>
                  </a:cxn>
                  <a:cxn ang="0">
                    <a:pos x="connsiteX11-23" y="connsiteY11-24"/>
                  </a:cxn>
                  <a:cxn ang="0">
                    <a:pos x="connsiteX12-25" y="connsiteY12-26"/>
                  </a:cxn>
                  <a:cxn ang="0">
                    <a:pos x="connsiteX13-27" y="connsiteY13-28"/>
                  </a:cxn>
                </a:cxnLst>
                <a:rect l="l" t="t" r="r" b="b"/>
                <a:pathLst>
                  <a:path w="1621631" h="1069614">
                    <a:moveTo>
                      <a:pt x="270720" y="1067768"/>
                    </a:moveTo>
                    <a:lnTo>
                      <a:pt x="273843" y="1069614"/>
                    </a:lnTo>
                    <a:lnTo>
                      <a:pt x="270720" y="1067768"/>
                    </a:lnTo>
                    <a:close/>
                    <a:moveTo>
                      <a:pt x="0" y="907689"/>
                    </a:moveTo>
                    <a:lnTo>
                      <a:pt x="1629" y="908652"/>
                    </a:lnTo>
                    <a:lnTo>
                      <a:pt x="0" y="907689"/>
                    </a:lnTo>
                    <a:close/>
                    <a:moveTo>
                      <a:pt x="1621631" y="312073"/>
                    </a:moveTo>
                    <a:lnTo>
                      <a:pt x="1621631" y="312377"/>
                    </a:lnTo>
                    <a:lnTo>
                      <a:pt x="1621631" y="312073"/>
                    </a:lnTo>
                    <a:close/>
                    <a:moveTo>
                      <a:pt x="1621631" y="0"/>
                    </a:moveTo>
                    <a:lnTo>
                      <a:pt x="1621631" y="312073"/>
                    </a:lnTo>
                    <a:cubicBezTo>
                      <a:pt x="1059988" y="337356"/>
                      <a:pt x="568425" y="631117"/>
                      <a:pt x="270720" y="1067768"/>
                    </a:cubicBezTo>
                    <a:lnTo>
                      <a:pt x="1629" y="908652"/>
                    </a:lnTo>
                    <a:cubicBezTo>
                      <a:pt x="354259" y="380480"/>
                      <a:pt x="945677" y="25494"/>
                      <a:pt x="1621631" y="0"/>
                    </a:cubicBez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69935" tIns="34967" rIns="34967" bIns="69935" numCol="1" spcCol="0" rtlCol="0" fromWordArt="0" anchor="b" anchorCtr="0" forceAA="0" compatLnSpc="1">
                <a:noAutofit/>
              </a:bodyPr>
              <a:lstStyle/>
              <a:p>
                <a:pPr algn="ctr" defTabSz="6985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 spc="-38" dirty="0">
                  <a:solidFill>
                    <a:srgbClr val="ADACC8"/>
                  </a:solidFill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98" name="组合 97"/>
          <p:cNvGrpSpPr/>
          <p:nvPr/>
        </p:nvGrpSpPr>
        <p:grpSpPr>
          <a:xfrm>
            <a:off x="1559877" y="2281545"/>
            <a:ext cx="1689711" cy="1267531"/>
            <a:chOff x="1508336" y="2668679"/>
            <a:chExt cx="2252948" cy="1690040"/>
          </a:xfrm>
        </p:grpSpPr>
        <p:sp>
          <p:nvSpPr>
            <p:cNvPr id="99" name="Rectangle 56"/>
            <p:cNvSpPr/>
            <p:nvPr/>
          </p:nvSpPr>
          <p:spPr>
            <a:xfrm>
              <a:off x="1530811" y="2668679"/>
              <a:ext cx="2138983" cy="3847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ctr" defTabSz="698500" fontAlgn="base">
                <a:lnSpc>
                  <a:spcPct val="85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altLang="zh-CN" sz="1500" b="1" dirty="0">
                  <a:solidFill>
                    <a:srgbClr val="7F7F7F"/>
                  </a:solidFill>
                  <a:cs typeface="+mn-ea"/>
                  <a:sym typeface="+mn-lt"/>
                </a:rPr>
                <a:t>Add title text</a:t>
              </a:r>
            </a:p>
          </p:txBody>
        </p:sp>
        <p:sp>
          <p:nvSpPr>
            <p:cNvPr id="100" name="矩形 99"/>
            <p:cNvSpPr/>
            <p:nvPr/>
          </p:nvSpPr>
          <p:spPr>
            <a:xfrm>
              <a:off x="1508336" y="3250724"/>
              <a:ext cx="2252948" cy="1107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/>
              <a:r>
                <a:rPr lang="en-US" altLang="zh-CN" sz="1200" dirty="0">
                  <a:solidFill>
                    <a:srgbClr val="7F7F7F"/>
                  </a:solidFill>
                  <a:cs typeface="+mn-ea"/>
                  <a:sym typeface="+mn-lt"/>
                </a:rPr>
                <a:t>Fill in the description</a:t>
              </a:r>
            </a:p>
            <a:p>
              <a:pPr lvl="0" algn="ctr"/>
              <a:r>
                <a:rPr lang="en-US" altLang="zh-CN" sz="1200" dirty="0">
                  <a:solidFill>
                    <a:srgbClr val="7F7F7F"/>
                  </a:solidFill>
                  <a:cs typeface="+mn-ea"/>
                  <a:sym typeface="+mn-lt"/>
                </a:rPr>
                <a:t>Fill in the description</a:t>
              </a:r>
            </a:p>
            <a:p>
              <a:pPr lvl="0" algn="ctr"/>
              <a:r>
                <a:rPr lang="en-US" altLang="zh-CN" sz="1200" dirty="0">
                  <a:solidFill>
                    <a:srgbClr val="7F7F7F"/>
                  </a:solidFill>
                  <a:cs typeface="+mn-ea"/>
                  <a:sym typeface="+mn-lt"/>
                </a:rPr>
                <a:t>Fill in the description</a:t>
              </a:r>
            </a:p>
            <a:p>
              <a:pPr lvl="0" algn="ctr"/>
              <a:r>
                <a:rPr lang="en-US" altLang="zh-CN" sz="1200" dirty="0">
                  <a:solidFill>
                    <a:srgbClr val="7F7F7F"/>
                  </a:solidFill>
                  <a:cs typeface="+mn-ea"/>
                  <a:sym typeface="+mn-lt"/>
                </a:rPr>
                <a:t>Fill in the description</a:t>
              </a:r>
              <a:endParaRPr lang="zh-CN" altLang="en-US" sz="1200" dirty="0">
                <a:solidFill>
                  <a:srgbClr val="7F7F7F"/>
                </a:solidFill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400" tmFilter="0,0; .5, 1; 1, 1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120"/>
                            </p:stCondLst>
                            <p:childTnLst>
                              <p:par>
                                <p:cTn id="1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620"/>
                            </p:stCondLst>
                            <p:childTnLst>
                              <p:par>
                                <p:cTn id="1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12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62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370"/>
                            </p:stCondLst>
                            <p:childTnLst>
                              <p:par>
                                <p:cTn id="31" presetID="63" presetClass="path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412 1.91103E-6 L -2.91805E-6 1.91103E-6 " pathEditMode="relative" rAng="0" ptsTypes="AA">
                                      <p:cBhvr>
                                        <p:cTn id="32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3870"/>
                            </p:stCondLst>
                            <p:childTnLst>
                              <p:par>
                                <p:cTn id="34" presetID="6" presetClass="emph" presetSubtype="0" accel="10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5" dur="500" fill="hold"/>
                                        <p:tgtEl>
                                          <p:spTgt spid="87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87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620"/>
                            </p:stCondLst>
                            <p:childTnLst>
                              <p:par>
                                <p:cTn id="41" presetID="63" presetClass="path" presetSubtype="0" decel="10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413 1.91103E-6 L 7.50574E-7 1.91103E-6 " pathEditMode="relative" rAng="0" ptsTypes="AA">
                                      <p:cBhvr>
                                        <p:cTn id="4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120"/>
                            </p:stCondLst>
                            <p:childTnLst>
                              <p:par>
                                <p:cTn id="44" presetID="6" presetClass="emph" presetSubtype="0" accel="100000" autoRev="1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5" dur="500" fill="hold"/>
                                        <p:tgtEl>
                                          <p:spTgt spid="12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7120"/>
                            </p:stCondLst>
                            <p:childTnLst>
                              <p:par>
                                <p:cTn id="4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7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7870"/>
                            </p:stCondLst>
                            <p:childTnLst>
                              <p:par>
                                <p:cTn id="51" presetID="63" presetClass="path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412 1.91103E-6 L -2.15216E-6 1.91103E-6 " pathEditMode="relative" rAng="0" ptsTypes="AA">
                                      <p:cBhvr>
                                        <p:cTn id="52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8370"/>
                            </p:stCondLst>
                            <p:childTnLst>
                              <p:par>
                                <p:cTn id="54" presetID="6" presetClass="emph" presetSubtype="0" accel="10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5" dur="500" fill="hold"/>
                                        <p:tgtEl>
                                          <p:spTgt spid="64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937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0120"/>
                            </p:stCondLst>
                            <p:childTnLst>
                              <p:par>
                                <p:cTn id="61" presetID="63" presetClass="path" presetSubtype="0" decel="10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412 1.91103E-6 L -3.32653E-6 1.91103E-6 " pathEditMode="relative" rAng="0" ptsTypes="AA">
                                      <p:cBhvr>
                                        <p:cTn id="6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10620"/>
                            </p:stCondLst>
                            <p:childTnLst>
                              <p:par>
                                <p:cTn id="64" presetID="6" presetClass="emph" presetSubtype="0" accel="100000" autoRev="1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5" dur="500" fill="hold"/>
                                        <p:tgtEl>
                                          <p:spTgt spid="13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11620"/>
                            </p:stCondLst>
                            <p:childTnLst>
                              <p:par>
                                <p:cTn id="6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5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12370"/>
                            </p:stCondLst>
                            <p:childTnLst>
                              <p:par>
                                <p:cTn id="71" presetID="63" presetClass="path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412 -2.38765E-6 L -2.15216E-6 -2.38765E-6 " pathEditMode="relative" rAng="0" ptsTypes="AA">
                                      <p:cBhvr>
                                        <p:cTn id="72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12870"/>
                            </p:stCondLst>
                            <p:childTnLst>
                              <p:par>
                                <p:cTn id="74" presetID="6" presetClass="emph" presetSubtype="0" accel="100000" autoRev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5" dur="500" fill="hold"/>
                                        <p:tgtEl>
                                          <p:spTgt spid="75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13870"/>
                            </p:stCondLst>
                            <p:childTnLst>
                              <p:par>
                                <p:cTn id="7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75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14620"/>
                            </p:stCondLst>
                            <p:childTnLst>
                              <p:par>
                                <p:cTn id="81" presetID="63" presetClass="path" presetSubtype="0" decel="10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2412 6.49115E-7 L -7.50574E-7 6.49115E-7 " pathEditMode="relative" rAng="0" ptsTypes="AA">
                                      <p:cBhvr>
                                        <p:cTn id="82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20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15120"/>
                            </p:stCondLst>
                            <p:childTnLst>
                              <p:par>
                                <p:cTn id="84" presetID="6" presetClass="emph" presetSubtype="0" accel="100000" autoRev="1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5" dur="500" fill="hold"/>
                                        <p:tgtEl>
                                          <p:spTgt spid="63"/>
                                        </p:tgtEl>
                                      </p:cBhvr>
                                      <p:by x="92000" y="92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2" grpId="0"/>
      <p:bldP spid="12" grpId="1"/>
      <p:bldP spid="12" grpId="2"/>
      <p:bldP spid="13" grpId="0"/>
      <p:bldP spid="13" grpId="1"/>
      <p:bldP spid="13" grpId="2"/>
      <p:bldP spid="63" grpId="0"/>
      <p:bldP spid="63" grpId="1"/>
      <p:bldP spid="63" grpId="2"/>
      <p:bldP spid="86" grpId="0" bldLvl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31"/>
          <p:cNvSpPr txBox="1"/>
          <p:nvPr/>
        </p:nvSpPr>
        <p:spPr>
          <a:xfrm>
            <a:off x="3410781" y="186622"/>
            <a:ext cx="5208588" cy="646331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defPPr>
              <a:defRPr lang="zh-CN"/>
            </a:defPPr>
            <a:lvl1pPr lvl="0">
              <a:defRPr sz="3600" b="1">
                <a:solidFill>
                  <a:schemeClr val="accent2"/>
                </a:solidFill>
                <a:cs typeface="+mn-ea"/>
              </a:defRPr>
            </a:lvl1pPr>
          </a:lstStyle>
          <a:p>
            <a:r>
              <a:rPr lang="en-US" altLang="zh-CN" dirty="0">
                <a:sym typeface="+mn-lt"/>
              </a:rPr>
              <a:t>Instructional Design</a:t>
            </a:r>
            <a:endParaRPr lang="zh-CN" altLang="en-US" dirty="0">
              <a:sym typeface="+mn-lt"/>
            </a:endParaRPr>
          </a:p>
        </p:txBody>
      </p:sp>
      <p:sp>
        <p:nvSpPr>
          <p:cNvPr id="8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621030" y="1817370"/>
            <a:ext cx="2181225" cy="2622550"/>
          </a:xfrm>
          <a:prstGeom prst="roundRect">
            <a:avLst>
              <a:gd name="adj" fmla="val 5304"/>
            </a:avLst>
          </a:prstGeom>
          <a:noFill/>
          <a:ln w="38100" cap="flat" cmpd="sng" algn="ctr">
            <a:solidFill>
              <a:srgbClr val="ADACC8"/>
            </a:solidFill>
            <a:prstDash val="solid"/>
          </a:ln>
          <a:effectLst/>
        </p:spPr>
        <p:txBody>
          <a:bodyPr anchor="ctr"/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n"/>
              <a:tabLst>
                <a:tab pos="136525" algn="l"/>
              </a:tabLst>
              <a:defRPr/>
            </a:pPr>
            <a:endParaRPr lang="zh-CN" altLang="en-US" sz="1400" b="1" kern="0" dirty="0">
              <a:solidFill>
                <a:srgbClr val="7F7F7F"/>
              </a:solidFill>
              <a:cs typeface="+mn-ea"/>
              <a:sym typeface="+mn-lt"/>
            </a:endParaRPr>
          </a:p>
        </p:txBody>
      </p:sp>
      <p:sp>
        <p:nvSpPr>
          <p:cNvPr id="12" name="AutoShape 3"/>
          <p:cNvSpPr>
            <a:spLocks noChangeArrowheads="1"/>
          </p:cNvSpPr>
          <p:nvPr/>
        </p:nvSpPr>
        <p:spPr bwMode="auto">
          <a:xfrm>
            <a:off x="932177" y="1450024"/>
            <a:ext cx="1510068" cy="469799"/>
          </a:xfrm>
          <a:prstGeom prst="roundRect">
            <a:avLst/>
          </a:prstGeom>
          <a:solidFill>
            <a:srgbClr val="B1B5E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0" fontAlgn="ctr" hangingPunct="0">
              <a:buClr>
                <a:srgbClr val="FF0000"/>
              </a:buClr>
              <a:buSzPct val="70000"/>
              <a:buFont typeface="Wingdings" panose="05000000000000000000" pitchFamily="2" charset="2"/>
              <a:buChar char="u"/>
              <a:defRPr/>
            </a:pPr>
            <a:endParaRPr lang="zh-CN" altLang="zh-CN" sz="1600" b="1" kern="0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3" name="TextBox 21"/>
          <p:cNvSpPr txBox="1"/>
          <p:nvPr/>
        </p:nvSpPr>
        <p:spPr bwMode="auto">
          <a:xfrm>
            <a:off x="899156" y="1497638"/>
            <a:ext cx="1467763" cy="37457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 wrap="square">
            <a:spAutoFit/>
          </a:bodyPr>
          <a:lstStyle/>
          <a:p>
            <a:pPr algn="ctr">
              <a:buClr>
                <a:srgbClr val="7F7F7F"/>
              </a:buClr>
              <a:defRPr/>
            </a:pPr>
            <a:r>
              <a:rPr lang="en-US" altLang="zh-CN" sz="1600" b="1" dirty="0">
                <a:solidFill>
                  <a:srgbClr val="FFFFFF"/>
                </a:solidFill>
                <a:cs typeface="+mn-ea"/>
                <a:sym typeface="+mn-lt"/>
              </a:rPr>
              <a:t>Add title text</a:t>
            </a:r>
            <a:endParaRPr lang="zh-CN" altLang="zh-CN" sz="1600" b="1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650197" y="2118394"/>
            <a:ext cx="21190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altLang="zh-CN" sz="1200" b="1" spc="50" dirty="0">
                <a:ln w="11430"/>
                <a:solidFill>
                  <a:srgbClr val="7F7F7F"/>
                </a:solidFill>
                <a:cs typeface="+mn-ea"/>
                <a:sym typeface="+mn-lt"/>
              </a:rPr>
              <a:t>Fill in the description</a:t>
            </a:r>
          </a:p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altLang="zh-CN" sz="1200" b="1" spc="50" dirty="0">
                <a:ln w="11430"/>
                <a:solidFill>
                  <a:srgbClr val="7F7F7F"/>
                </a:solidFill>
                <a:cs typeface="+mn-ea"/>
                <a:sym typeface="+mn-lt"/>
              </a:rPr>
              <a:t>Fill in the description</a:t>
            </a:r>
            <a:endParaRPr lang="zh-CN" altLang="en-US" sz="1200" b="1" spc="50" dirty="0">
              <a:ln w="11430"/>
              <a:solidFill>
                <a:srgbClr val="7F7F7F"/>
              </a:solidFill>
              <a:cs typeface="+mn-ea"/>
              <a:sym typeface="+mn-lt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650197" y="2683544"/>
            <a:ext cx="21190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altLang="zh-CN" sz="1200" b="1" spc="50" dirty="0">
                <a:ln w="11430"/>
                <a:solidFill>
                  <a:srgbClr val="7F7F7F"/>
                </a:solidFill>
                <a:cs typeface="+mn-ea"/>
                <a:sym typeface="+mn-lt"/>
              </a:rPr>
              <a:t>Fill in the description</a:t>
            </a:r>
          </a:p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altLang="zh-CN" sz="1200" b="1" spc="50" dirty="0">
                <a:ln w="11430"/>
                <a:solidFill>
                  <a:srgbClr val="7F7F7F"/>
                </a:solidFill>
                <a:cs typeface="+mn-ea"/>
                <a:sym typeface="+mn-lt"/>
              </a:rPr>
              <a:t>Fill in the description</a:t>
            </a:r>
            <a:endParaRPr lang="zh-CN" altLang="en-US" sz="1200" b="1" spc="50" dirty="0">
              <a:ln w="11430"/>
              <a:solidFill>
                <a:srgbClr val="7F7F7F"/>
              </a:solidFill>
              <a:cs typeface="+mn-ea"/>
              <a:sym typeface="+mn-lt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50832" y="3267744"/>
            <a:ext cx="21190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altLang="zh-CN" sz="1200" b="1" spc="50" dirty="0">
                <a:ln w="11430"/>
                <a:solidFill>
                  <a:srgbClr val="7F7F7F"/>
                </a:solidFill>
                <a:cs typeface="+mn-ea"/>
                <a:sym typeface="+mn-lt"/>
              </a:rPr>
              <a:t>Fill in the description</a:t>
            </a:r>
          </a:p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altLang="zh-CN" sz="1200" b="1" spc="50" dirty="0">
                <a:ln w="11430"/>
                <a:solidFill>
                  <a:srgbClr val="7F7F7F"/>
                </a:solidFill>
                <a:cs typeface="+mn-ea"/>
                <a:sym typeface="+mn-lt"/>
              </a:rPr>
              <a:t>Fill in the description</a:t>
            </a:r>
            <a:endParaRPr lang="zh-CN" altLang="en-US" sz="1200" b="1" spc="50" dirty="0">
              <a:ln w="11430"/>
              <a:solidFill>
                <a:srgbClr val="7F7F7F"/>
              </a:solidFill>
              <a:cs typeface="+mn-ea"/>
              <a:sym typeface="+mn-lt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643212" y="3799874"/>
            <a:ext cx="21190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altLang="zh-CN" sz="1200" b="1" spc="50" dirty="0">
                <a:ln w="11430"/>
                <a:solidFill>
                  <a:srgbClr val="7F7F7F"/>
                </a:solidFill>
                <a:cs typeface="+mn-ea"/>
                <a:sym typeface="+mn-lt"/>
              </a:rPr>
              <a:t>Fill in the description</a:t>
            </a:r>
          </a:p>
          <a:p>
            <a:pPr marL="0" lvl="2" algn="ctr" defTabSz="912495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altLang="zh-CN" sz="1200" b="1" spc="50" dirty="0">
                <a:ln w="11430"/>
                <a:solidFill>
                  <a:srgbClr val="7F7F7F"/>
                </a:solidFill>
                <a:cs typeface="+mn-ea"/>
                <a:sym typeface="+mn-lt"/>
              </a:rPr>
              <a:t>Fill in the description</a:t>
            </a:r>
            <a:endParaRPr lang="zh-CN" altLang="en-US" sz="1200" b="1" spc="50" dirty="0">
              <a:ln w="11430"/>
              <a:solidFill>
                <a:srgbClr val="7F7F7F"/>
              </a:solidFill>
              <a:cs typeface="+mn-ea"/>
              <a:sym typeface="+mn-lt"/>
            </a:endParaRPr>
          </a:p>
        </p:txBody>
      </p:sp>
      <p:sp>
        <p:nvSpPr>
          <p:cNvPr id="16" name="Rectangle 8"/>
          <p:cNvSpPr/>
          <p:nvPr/>
        </p:nvSpPr>
        <p:spPr>
          <a:xfrm>
            <a:off x="4324845" y="3474007"/>
            <a:ext cx="2438400" cy="872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b="1" dirty="0">
                <a:solidFill>
                  <a:srgbClr val="7F7F7F"/>
                </a:solidFill>
                <a:cs typeface="+mn-ea"/>
                <a:sym typeface="+mn-lt"/>
              </a:rPr>
              <a:t>Add title text</a:t>
            </a:r>
            <a:endParaRPr lang="zh-CN" altLang="en-US" sz="1400" b="1" dirty="0">
              <a:solidFill>
                <a:srgbClr val="7F7F7F"/>
              </a:solidFill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en-US" altLang="zh-CN" sz="1050" dirty="0">
                <a:solidFill>
                  <a:srgbClr val="7F7F7F"/>
                </a:solidFill>
                <a:cs typeface="+mn-ea"/>
                <a:sym typeface="+mn-lt"/>
              </a:rPr>
              <a:t>Click here to add content, content to match the title. </a:t>
            </a:r>
          </a:p>
        </p:txBody>
      </p:sp>
      <p:sp>
        <p:nvSpPr>
          <p:cNvPr id="17" name="Rectangle 9"/>
          <p:cNvSpPr/>
          <p:nvPr/>
        </p:nvSpPr>
        <p:spPr>
          <a:xfrm>
            <a:off x="4324845" y="2465895"/>
            <a:ext cx="2438400" cy="872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b="1" dirty="0">
                <a:solidFill>
                  <a:srgbClr val="7F7F7F"/>
                </a:solidFill>
                <a:cs typeface="+mn-ea"/>
                <a:sym typeface="+mn-lt"/>
              </a:rPr>
              <a:t>Add title text</a:t>
            </a:r>
            <a:endParaRPr lang="zh-CN" altLang="en-US" sz="1400" b="1" dirty="0">
              <a:solidFill>
                <a:srgbClr val="7F7F7F"/>
              </a:solidFill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en-US" altLang="zh-CN" sz="1050" dirty="0">
                <a:solidFill>
                  <a:srgbClr val="7F7F7F"/>
                </a:solidFill>
                <a:cs typeface="+mn-ea"/>
                <a:sym typeface="+mn-lt"/>
              </a:rPr>
              <a:t>Click here to add content, content to match the title. </a:t>
            </a:r>
          </a:p>
        </p:txBody>
      </p:sp>
      <p:sp>
        <p:nvSpPr>
          <p:cNvPr id="18" name="Rectangle 10"/>
          <p:cNvSpPr/>
          <p:nvPr/>
        </p:nvSpPr>
        <p:spPr>
          <a:xfrm>
            <a:off x="4324845" y="1486685"/>
            <a:ext cx="2438400" cy="872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400" b="1" dirty="0">
                <a:solidFill>
                  <a:srgbClr val="7F7F7F"/>
                </a:solidFill>
                <a:cs typeface="+mn-ea"/>
                <a:sym typeface="+mn-lt"/>
              </a:rPr>
              <a:t>Add title text</a:t>
            </a:r>
            <a:endParaRPr lang="zh-CN" altLang="en-US" sz="1400" b="1" dirty="0">
              <a:solidFill>
                <a:srgbClr val="7F7F7F"/>
              </a:solidFill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en-US" altLang="zh-CN" sz="1050" dirty="0">
                <a:solidFill>
                  <a:srgbClr val="7F7F7F"/>
                </a:solidFill>
                <a:cs typeface="+mn-ea"/>
                <a:sym typeface="+mn-lt"/>
              </a:rPr>
              <a:t>Click here to add content, content to match the title. </a:t>
            </a:r>
          </a:p>
        </p:txBody>
      </p:sp>
      <p:sp>
        <p:nvSpPr>
          <p:cNvPr id="19" name="Rounded Rectangle 17"/>
          <p:cNvSpPr/>
          <p:nvPr/>
        </p:nvSpPr>
        <p:spPr>
          <a:xfrm>
            <a:off x="3410444" y="1574326"/>
            <a:ext cx="805243" cy="778229"/>
          </a:xfrm>
          <a:prstGeom prst="round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endParaRPr lang="en-US">
              <a:solidFill>
                <a:srgbClr val="7F7F7F"/>
              </a:solidFill>
              <a:cs typeface="+mn-ea"/>
              <a:sym typeface="+mn-lt"/>
            </a:endParaRPr>
          </a:p>
        </p:txBody>
      </p:sp>
      <p:sp>
        <p:nvSpPr>
          <p:cNvPr id="24" name="Rounded Rectangle 18"/>
          <p:cNvSpPr/>
          <p:nvPr/>
        </p:nvSpPr>
        <p:spPr>
          <a:xfrm>
            <a:off x="3410444" y="2577564"/>
            <a:ext cx="805243" cy="778229"/>
          </a:xfrm>
          <a:prstGeom prst="roundRect">
            <a:avLst/>
          </a:prstGeom>
          <a:solidFill>
            <a:srgbClr val="ADACC8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endParaRPr lang="en-US">
              <a:solidFill>
                <a:srgbClr val="7F7F7F"/>
              </a:solidFill>
              <a:cs typeface="+mn-ea"/>
              <a:sym typeface="+mn-lt"/>
            </a:endParaRPr>
          </a:p>
        </p:txBody>
      </p:sp>
      <p:sp>
        <p:nvSpPr>
          <p:cNvPr id="25" name="Rounded Rectangle 19"/>
          <p:cNvSpPr/>
          <p:nvPr/>
        </p:nvSpPr>
        <p:spPr>
          <a:xfrm>
            <a:off x="3410444" y="3604030"/>
            <a:ext cx="805243" cy="778229"/>
          </a:xfrm>
          <a:prstGeom prst="roundRect">
            <a:avLst/>
          </a:prstGeom>
          <a:solidFill>
            <a:srgbClr val="D9D9D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endParaRPr lang="en-US">
              <a:solidFill>
                <a:srgbClr val="7F7F7F"/>
              </a:solidFill>
              <a:cs typeface="+mn-ea"/>
              <a:sym typeface="+mn-lt"/>
            </a:endParaRPr>
          </a:p>
        </p:txBody>
      </p:sp>
      <p:grpSp>
        <p:nvGrpSpPr>
          <p:cNvPr id="26" name="Group 26"/>
          <p:cNvGrpSpPr/>
          <p:nvPr/>
        </p:nvGrpSpPr>
        <p:grpSpPr>
          <a:xfrm>
            <a:off x="3611608" y="2794154"/>
            <a:ext cx="389810" cy="393086"/>
            <a:chOff x="6418263" y="2255838"/>
            <a:chExt cx="188913" cy="190501"/>
          </a:xfrm>
          <a:solidFill>
            <a:srgbClr val="FFFFFF"/>
          </a:solidFill>
        </p:grpSpPr>
        <p:sp>
          <p:nvSpPr>
            <p:cNvPr id="27" name="Freeform 16"/>
            <p:cNvSpPr>
              <a:spLocks noEditPoints="1"/>
            </p:cNvSpPr>
            <p:nvPr/>
          </p:nvSpPr>
          <p:spPr bwMode="auto">
            <a:xfrm>
              <a:off x="6538913" y="2255838"/>
              <a:ext cx="68263" cy="69850"/>
            </a:xfrm>
            <a:custGeom>
              <a:avLst/>
              <a:gdLst>
                <a:gd name="T0" fmla="*/ 43 w 43"/>
                <a:gd name="T1" fmla="*/ 23 h 44"/>
                <a:gd name="T2" fmla="*/ 20 w 43"/>
                <a:gd name="T3" fmla="*/ 0 h 44"/>
                <a:gd name="T4" fmla="*/ 0 w 43"/>
                <a:gd name="T5" fmla="*/ 22 h 44"/>
                <a:gd name="T6" fmla="*/ 22 w 43"/>
                <a:gd name="T7" fmla="*/ 44 h 44"/>
                <a:gd name="T8" fmla="*/ 43 w 43"/>
                <a:gd name="T9" fmla="*/ 23 h 44"/>
                <a:gd name="T10" fmla="*/ 24 w 43"/>
                <a:gd name="T11" fmla="*/ 17 h 44"/>
                <a:gd name="T12" fmla="*/ 17 w 43"/>
                <a:gd name="T13" fmla="*/ 10 h 44"/>
                <a:gd name="T14" fmla="*/ 21 w 43"/>
                <a:gd name="T15" fmla="*/ 7 h 44"/>
                <a:gd name="T16" fmla="*/ 27 w 43"/>
                <a:gd name="T17" fmla="*/ 13 h 44"/>
                <a:gd name="T18" fmla="*/ 24 w 43"/>
                <a:gd name="T19" fmla="*/ 17 h 44"/>
                <a:gd name="T20" fmla="*/ 34 w 43"/>
                <a:gd name="T21" fmla="*/ 26 h 44"/>
                <a:gd name="T22" fmla="*/ 26 w 43"/>
                <a:gd name="T23" fmla="*/ 20 h 44"/>
                <a:gd name="T24" fmla="*/ 30 w 43"/>
                <a:gd name="T25" fmla="*/ 15 h 44"/>
                <a:gd name="T26" fmla="*/ 37 w 43"/>
                <a:gd name="T27" fmla="*/ 23 h 44"/>
                <a:gd name="T28" fmla="*/ 34 w 43"/>
                <a:gd name="T29" fmla="*/ 26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" h="44">
                  <a:moveTo>
                    <a:pt x="43" y="23"/>
                  </a:moveTo>
                  <a:lnTo>
                    <a:pt x="20" y="0"/>
                  </a:lnTo>
                  <a:lnTo>
                    <a:pt x="0" y="22"/>
                  </a:lnTo>
                  <a:lnTo>
                    <a:pt x="22" y="44"/>
                  </a:lnTo>
                  <a:lnTo>
                    <a:pt x="43" y="23"/>
                  </a:lnTo>
                  <a:close/>
                  <a:moveTo>
                    <a:pt x="24" y="17"/>
                  </a:moveTo>
                  <a:lnTo>
                    <a:pt x="17" y="10"/>
                  </a:lnTo>
                  <a:lnTo>
                    <a:pt x="21" y="7"/>
                  </a:lnTo>
                  <a:lnTo>
                    <a:pt x="27" y="13"/>
                  </a:lnTo>
                  <a:lnTo>
                    <a:pt x="24" y="17"/>
                  </a:lnTo>
                  <a:close/>
                  <a:moveTo>
                    <a:pt x="34" y="26"/>
                  </a:moveTo>
                  <a:lnTo>
                    <a:pt x="26" y="20"/>
                  </a:lnTo>
                  <a:lnTo>
                    <a:pt x="30" y="15"/>
                  </a:lnTo>
                  <a:lnTo>
                    <a:pt x="37" y="23"/>
                  </a:lnTo>
                  <a:lnTo>
                    <a:pt x="34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srgbClr val="7F7F7F"/>
                </a:solidFill>
                <a:cs typeface="+mn-ea"/>
                <a:sym typeface="+mn-lt"/>
              </a:endParaRPr>
            </a:p>
          </p:txBody>
        </p:sp>
        <p:sp>
          <p:nvSpPr>
            <p:cNvPr id="28" name="Freeform 17"/>
            <p:cNvSpPr>
              <a:spLocks noEditPoints="1"/>
            </p:cNvSpPr>
            <p:nvPr/>
          </p:nvSpPr>
          <p:spPr bwMode="auto">
            <a:xfrm>
              <a:off x="6418263" y="2282826"/>
              <a:ext cx="161925" cy="163513"/>
            </a:xfrm>
            <a:custGeom>
              <a:avLst/>
              <a:gdLst>
                <a:gd name="T0" fmla="*/ 66 w 102"/>
                <a:gd name="T1" fmla="*/ 0 h 103"/>
                <a:gd name="T2" fmla="*/ 0 w 102"/>
                <a:gd name="T3" fmla="*/ 67 h 103"/>
                <a:gd name="T4" fmla="*/ 36 w 102"/>
                <a:gd name="T5" fmla="*/ 103 h 103"/>
                <a:gd name="T6" fmla="*/ 102 w 102"/>
                <a:gd name="T7" fmla="*/ 36 h 103"/>
                <a:gd name="T8" fmla="*/ 66 w 102"/>
                <a:gd name="T9" fmla="*/ 0 h 103"/>
                <a:gd name="T10" fmla="*/ 32 w 102"/>
                <a:gd name="T11" fmla="*/ 79 h 103"/>
                <a:gd name="T12" fmla="*/ 22 w 102"/>
                <a:gd name="T13" fmla="*/ 71 h 103"/>
                <a:gd name="T14" fmla="*/ 73 w 102"/>
                <a:gd name="T15" fmla="*/ 21 h 103"/>
                <a:gd name="T16" fmla="*/ 82 w 102"/>
                <a:gd name="T17" fmla="*/ 30 h 103"/>
                <a:gd name="T18" fmla="*/ 32 w 102"/>
                <a:gd name="T19" fmla="*/ 7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03">
                  <a:moveTo>
                    <a:pt x="66" y="0"/>
                  </a:moveTo>
                  <a:lnTo>
                    <a:pt x="0" y="67"/>
                  </a:lnTo>
                  <a:lnTo>
                    <a:pt x="36" y="103"/>
                  </a:lnTo>
                  <a:lnTo>
                    <a:pt x="102" y="36"/>
                  </a:lnTo>
                  <a:lnTo>
                    <a:pt x="66" y="0"/>
                  </a:lnTo>
                  <a:close/>
                  <a:moveTo>
                    <a:pt x="32" y="79"/>
                  </a:moveTo>
                  <a:lnTo>
                    <a:pt x="22" y="71"/>
                  </a:lnTo>
                  <a:lnTo>
                    <a:pt x="73" y="21"/>
                  </a:lnTo>
                  <a:lnTo>
                    <a:pt x="82" y="30"/>
                  </a:lnTo>
                  <a:lnTo>
                    <a:pt x="32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>
                <a:solidFill>
                  <a:srgbClr val="7F7F7F"/>
                </a:solidFill>
                <a:cs typeface="+mn-ea"/>
                <a:sym typeface="+mn-lt"/>
              </a:endParaRPr>
            </a:p>
          </p:txBody>
        </p:sp>
      </p:grpSp>
      <p:sp>
        <p:nvSpPr>
          <p:cNvPr id="29" name="Freeform 38"/>
          <p:cNvSpPr>
            <a:spLocks noEditPoints="1"/>
          </p:cNvSpPr>
          <p:nvPr/>
        </p:nvSpPr>
        <p:spPr bwMode="auto">
          <a:xfrm>
            <a:off x="3611608" y="1774178"/>
            <a:ext cx="402914" cy="396361"/>
          </a:xfrm>
          <a:custGeom>
            <a:avLst/>
            <a:gdLst>
              <a:gd name="T0" fmla="*/ 54 w 120"/>
              <a:gd name="T1" fmla="*/ 35 h 118"/>
              <a:gd name="T2" fmla="*/ 47 w 120"/>
              <a:gd name="T3" fmla="*/ 9 h 118"/>
              <a:gd name="T4" fmla="*/ 21 w 120"/>
              <a:gd name="T5" fmla="*/ 2 h 118"/>
              <a:gd name="T6" fmla="*/ 36 w 120"/>
              <a:gd name="T7" fmla="*/ 17 h 118"/>
              <a:gd name="T8" fmla="*/ 32 w 120"/>
              <a:gd name="T9" fmla="*/ 32 h 118"/>
              <a:gd name="T10" fmla="*/ 18 w 120"/>
              <a:gd name="T11" fmla="*/ 36 h 118"/>
              <a:gd name="T12" fmla="*/ 3 w 120"/>
              <a:gd name="T13" fmla="*/ 21 h 118"/>
              <a:gd name="T14" fmla="*/ 9 w 120"/>
              <a:gd name="T15" fmla="*/ 46 h 118"/>
              <a:gd name="T16" fmla="*/ 36 w 120"/>
              <a:gd name="T17" fmla="*/ 53 h 118"/>
              <a:gd name="T18" fmla="*/ 36 w 120"/>
              <a:gd name="T19" fmla="*/ 53 h 118"/>
              <a:gd name="T20" fmla="*/ 98 w 120"/>
              <a:gd name="T21" fmla="*/ 114 h 118"/>
              <a:gd name="T22" fmla="*/ 107 w 120"/>
              <a:gd name="T23" fmla="*/ 118 h 118"/>
              <a:gd name="T24" fmla="*/ 116 w 120"/>
              <a:gd name="T25" fmla="*/ 114 h 118"/>
              <a:gd name="T26" fmla="*/ 116 w 120"/>
              <a:gd name="T27" fmla="*/ 97 h 118"/>
              <a:gd name="T28" fmla="*/ 54 w 120"/>
              <a:gd name="T29" fmla="*/ 35 h 118"/>
              <a:gd name="T30" fmla="*/ 108 w 120"/>
              <a:gd name="T31" fmla="*/ 112 h 118"/>
              <a:gd name="T32" fmla="*/ 103 w 120"/>
              <a:gd name="T33" fmla="*/ 107 h 118"/>
              <a:gd name="T34" fmla="*/ 108 w 120"/>
              <a:gd name="T35" fmla="*/ 103 h 118"/>
              <a:gd name="T36" fmla="*/ 113 w 120"/>
              <a:gd name="T37" fmla="*/ 107 h 118"/>
              <a:gd name="T38" fmla="*/ 108 w 120"/>
              <a:gd name="T39" fmla="*/ 112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20" h="118">
                <a:moveTo>
                  <a:pt x="54" y="35"/>
                </a:moveTo>
                <a:cubicBezTo>
                  <a:pt x="56" y="26"/>
                  <a:pt x="54" y="16"/>
                  <a:pt x="47" y="9"/>
                </a:cubicBezTo>
                <a:cubicBezTo>
                  <a:pt x="40" y="2"/>
                  <a:pt x="30" y="0"/>
                  <a:pt x="21" y="2"/>
                </a:cubicBezTo>
                <a:cubicBezTo>
                  <a:pt x="36" y="17"/>
                  <a:pt x="36" y="17"/>
                  <a:pt x="36" y="17"/>
                </a:cubicBezTo>
                <a:cubicBezTo>
                  <a:pt x="32" y="32"/>
                  <a:pt x="32" y="32"/>
                  <a:pt x="32" y="32"/>
                </a:cubicBezTo>
                <a:cubicBezTo>
                  <a:pt x="18" y="36"/>
                  <a:pt x="18" y="36"/>
                  <a:pt x="18" y="36"/>
                </a:cubicBezTo>
                <a:cubicBezTo>
                  <a:pt x="3" y="21"/>
                  <a:pt x="3" y="21"/>
                  <a:pt x="3" y="21"/>
                </a:cubicBezTo>
                <a:cubicBezTo>
                  <a:pt x="0" y="29"/>
                  <a:pt x="2" y="39"/>
                  <a:pt x="9" y="46"/>
                </a:cubicBezTo>
                <a:cubicBezTo>
                  <a:pt x="17" y="54"/>
                  <a:pt x="27" y="56"/>
                  <a:pt x="36" y="53"/>
                </a:cubicBezTo>
                <a:cubicBezTo>
                  <a:pt x="36" y="53"/>
                  <a:pt x="36" y="53"/>
                  <a:pt x="36" y="53"/>
                </a:cubicBezTo>
                <a:cubicBezTo>
                  <a:pt x="98" y="114"/>
                  <a:pt x="98" y="114"/>
                  <a:pt x="98" y="114"/>
                </a:cubicBezTo>
                <a:cubicBezTo>
                  <a:pt x="100" y="117"/>
                  <a:pt x="104" y="118"/>
                  <a:pt x="107" y="118"/>
                </a:cubicBezTo>
                <a:cubicBezTo>
                  <a:pt x="110" y="118"/>
                  <a:pt x="113" y="117"/>
                  <a:pt x="116" y="114"/>
                </a:cubicBezTo>
                <a:cubicBezTo>
                  <a:pt x="120" y="109"/>
                  <a:pt x="120" y="102"/>
                  <a:pt x="116" y="97"/>
                </a:cubicBezTo>
                <a:lnTo>
                  <a:pt x="54" y="35"/>
                </a:lnTo>
                <a:close/>
                <a:moveTo>
                  <a:pt x="108" y="112"/>
                </a:moveTo>
                <a:cubicBezTo>
                  <a:pt x="105" y="112"/>
                  <a:pt x="103" y="110"/>
                  <a:pt x="103" y="107"/>
                </a:cubicBezTo>
                <a:cubicBezTo>
                  <a:pt x="103" y="105"/>
                  <a:pt x="105" y="103"/>
                  <a:pt x="108" y="103"/>
                </a:cubicBezTo>
                <a:cubicBezTo>
                  <a:pt x="111" y="103"/>
                  <a:pt x="113" y="105"/>
                  <a:pt x="113" y="107"/>
                </a:cubicBezTo>
                <a:cubicBezTo>
                  <a:pt x="113" y="110"/>
                  <a:pt x="111" y="112"/>
                  <a:pt x="108" y="11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srgbClr val="7F7F7F"/>
              </a:solidFill>
              <a:cs typeface="+mn-ea"/>
              <a:sym typeface="+mn-lt"/>
            </a:endParaRPr>
          </a:p>
        </p:txBody>
      </p:sp>
      <p:sp>
        <p:nvSpPr>
          <p:cNvPr id="30" name="Freeform 58"/>
          <p:cNvSpPr/>
          <p:nvPr/>
        </p:nvSpPr>
        <p:spPr bwMode="auto">
          <a:xfrm>
            <a:off x="3613572" y="3803958"/>
            <a:ext cx="387845" cy="402033"/>
          </a:xfrm>
          <a:custGeom>
            <a:avLst/>
            <a:gdLst>
              <a:gd name="T0" fmla="*/ 99 w 137"/>
              <a:gd name="T1" fmla="*/ 57 h 142"/>
              <a:gd name="T2" fmla="*/ 137 w 137"/>
              <a:gd name="T3" fmla="*/ 57 h 142"/>
              <a:gd name="T4" fmla="*/ 76 w 137"/>
              <a:gd name="T5" fmla="*/ 4 h 142"/>
              <a:gd name="T6" fmla="*/ 69 w 137"/>
              <a:gd name="T7" fmla="*/ 0 h 142"/>
              <a:gd name="T8" fmla="*/ 62 w 137"/>
              <a:gd name="T9" fmla="*/ 4 h 142"/>
              <a:gd name="T10" fmla="*/ 0 w 137"/>
              <a:gd name="T11" fmla="*/ 57 h 142"/>
              <a:gd name="T12" fmla="*/ 39 w 137"/>
              <a:gd name="T13" fmla="*/ 57 h 142"/>
              <a:gd name="T14" fmla="*/ 62 w 137"/>
              <a:gd name="T15" fmla="*/ 5 h 142"/>
              <a:gd name="T16" fmla="*/ 62 w 137"/>
              <a:gd name="T17" fmla="*/ 6 h 142"/>
              <a:gd name="T18" fmla="*/ 44 w 137"/>
              <a:gd name="T19" fmla="*/ 57 h 142"/>
              <a:gd name="T20" fmla="*/ 64 w 137"/>
              <a:gd name="T21" fmla="*/ 57 h 142"/>
              <a:gd name="T22" fmla="*/ 64 w 137"/>
              <a:gd name="T23" fmla="*/ 123 h 142"/>
              <a:gd name="T24" fmla="*/ 64 w 137"/>
              <a:gd name="T25" fmla="*/ 125 h 142"/>
              <a:gd name="T26" fmla="*/ 64 w 137"/>
              <a:gd name="T27" fmla="*/ 130 h 142"/>
              <a:gd name="T28" fmla="*/ 76 w 137"/>
              <a:gd name="T29" fmla="*/ 142 h 142"/>
              <a:gd name="T30" fmla="*/ 88 w 137"/>
              <a:gd name="T31" fmla="*/ 130 h 142"/>
              <a:gd name="T32" fmla="*/ 88 w 137"/>
              <a:gd name="T33" fmla="*/ 125 h 142"/>
              <a:gd name="T34" fmla="*/ 79 w 137"/>
              <a:gd name="T35" fmla="*/ 125 h 142"/>
              <a:gd name="T36" fmla="*/ 79 w 137"/>
              <a:gd name="T37" fmla="*/ 127 h 142"/>
              <a:gd name="T38" fmla="*/ 79 w 137"/>
              <a:gd name="T39" fmla="*/ 130 h 142"/>
              <a:gd name="T40" fmla="*/ 76 w 137"/>
              <a:gd name="T41" fmla="*/ 134 h 142"/>
              <a:gd name="T42" fmla="*/ 72 w 137"/>
              <a:gd name="T43" fmla="*/ 130 h 142"/>
              <a:gd name="T44" fmla="*/ 72 w 137"/>
              <a:gd name="T45" fmla="*/ 127 h 142"/>
              <a:gd name="T46" fmla="*/ 72 w 137"/>
              <a:gd name="T47" fmla="*/ 125 h 142"/>
              <a:gd name="T48" fmla="*/ 72 w 137"/>
              <a:gd name="T49" fmla="*/ 112 h 142"/>
              <a:gd name="T50" fmla="*/ 72 w 137"/>
              <a:gd name="T51" fmla="*/ 57 h 142"/>
              <a:gd name="T52" fmla="*/ 94 w 137"/>
              <a:gd name="T53" fmla="*/ 57 h 142"/>
              <a:gd name="T54" fmla="*/ 76 w 137"/>
              <a:gd name="T55" fmla="*/ 6 h 142"/>
              <a:gd name="T56" fmla="*/ 76 w 137"/>
              <a:gd name="T57" fmla="*/ 5 h 142"/>
              <a:gd name="T58" fmla="*/ 99 w 137"/>
              <a:gd name="T59" fmla="*/ 57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37" h="142">
                <a:moveTo>
                  <a:pt x="99" y="57"/>
                </a:moveTo>
                <a:cubicBezTo>
                  <a:pt x="137" y="57"/>
                  <a:pt x="137" y="57"/>
                  <a:pt x="137" y="57"/>
                </a:cubicBezTo>
                <a:cubicBezTo>
                  <a:pt x="130" y="29"/>
                  <a:pt x="105" y="7"/>
                  <a:pt x="76" y="4"/>
                </a:cubicBezTo>
                <a:cubicBezTo>
                  <a:pt x="74" y="2"/>
                  <a:pt x="72" y="0"/>
                  <a:pt x="69" y="0"/>
                </a:cubicBezTo>
                <a:cubicBezTo>
                  <a:pt x="66" y="0"/>
                  <a:pt x="64" y="2"/>
                  <a:pt x="62" y="4"/>
                </a:cubicBezTo>
                <a:cubicBezTo>
                  <a:pt x="32" y="7"/>
                  <a:pt x="7" y="28"/>
                  <a:pt x="0" y="57"/>
                </a:cubicBezTo>
                <a:cubicBezTo>
                  <a:pt x="39" y="57"/>
                  <a:pt x="39" y="57"/>
                  <a:pt x="39" y="57"/>
                </a:cubicBezTo>
                <a:cubicBezTo>
                  <a:pt x="39" y="24"/>
                  <a:pt x="58" y="8"/>
                  <a:pt x="62" y="5"/>
                </a:cubicBezTo>
                <a:cubicBezTo>
                  <a:pt x="62" y="5"/>
                  <a:pt x="62" y="5"/>
                  <a:pt x="62" y="6"/>
                </a:cubicBezTo>
                <a:cubicBezTo>
                  <a:pt x="41" y="32"/>
                  <a:pt x="44" y="57"/>
                  <a:pt x="44" y="57"/>
                </a:cubicBezTo>
                <a:cubicBezTo>
                  <a:pt x="64" y="57"/>
                  <a:pt x="64" y="57"/>
                  <a:pt x="64" y="57"/>
                </a:cubicBezTo>
                <a:cubicBezTo>
                  <a:pt x="64" y="123"/>
                  <a:pt x="64" y="123"/>
                  <a:pt x="64" y="123"/>
                </a:cubicBezTo>
                <a:cubicBezTo>
                  <a:pt x="64" y="125"/>
                  <a:pt x="64" y="125"/>
                  <a:pt x="64" y="125"/>
                </a:cubicBezTo>
                <a:cubicBezTo>
                  <a:pt x="64" y="130"/>
                  <a:pt x="64" y="130"/>
                  <a:pt x="64" y="130"/>
                </a:cubicBezTo>
                <a:cubicBezTo>
                  <a:pt x="64" y="137"/>
                  <a:pt x="69" y="142"/>
                  <a:pt x="76" y="142"/>
                </a:cubicBezTo>
                <a:cubicBezTo>
                  <a:pt x="82" y="142"/>
                  <a:pt x="88" y="137"/>
                  <a:pt x="88" y="130"/>
                </a:cubicBezTo>
                <a:cubicBezTo>
                  <a:pt x="88" y="125"/>
                  <a:pt x="88" y="125"/>
                  <a:pt x="88" y="125"/>
                </a:cubicBezTo>
                <a:cubicBezTo>
                  <a:pt x="79" y="125"/>
                  <a:pt x="79" y="125"/>
                  <a:pt x="79" y="125"/>
                </a:cubicBezTo>
                <a:cubicBezTo>
                  <a:pt x="79" y="127"/>
                  <a:pt x="79" y="127"/>
                  <a:pt x="79" y="127"/>
                </a:cubicBezTo>
                <a:cubicBezTo>
                  <a:pt x="79" y="130"/>
                  <a:pt x="79" y="130"/>
                  <a:pt x="79" y="130"/>
                </a:cubicBezTo>
                <a:cubicBezTo>
                  <a:pt x="79" y="132"/>
                  <a:pt x="78" y="134"/>
                  <a:pt x="76" y="134"/>
                </a:cubicBezTo>
                <a:cubicBezTo>
                  <a:pt x="74" y="134"/>
                  <a:pt x="72" y="132"/>
                  <a:pt x="72" y="130"/>
                </a:cubicBezTo>
                <a:cubicBezTo>
                  <a:pt x="72" y="127"/>
                  <a:pt x="72" y="127"/>
                  <a:pt x="72" y="127"/>
                </a:cubicBezTo>
                <a:cubicBezTo>
                  <a:pt x="72" y="125"/>
                  <a:pt x="72" y="125"/>
                  <a:pt x="72" y="125"/>
                </a:cubicBezTo>
                <a:cubicBezTo>
                  <a:pt x="72" y="112"/>
                  <a:pt x="72" y="112"/>
                  <a:pt x="72" y="112"/>
                </a:cubicBezTo>
                <a:cubicBezTo>
                  <a:pt x="72" y="57"/>
                  <a:pt x="72" y="57"/>
                  <a:pt x="72" y="57"/>
                </a:cubicBezTo>
                <a:cubicBezTo>
                  <a:pt x="94" y="57"/>
                  <a:pt x="94" y="57"/>
                  <a:pt x="94" y="57"/>
                </a:cubicBezTo>
                <a:cubicBezTo>
                  <a:pt x="94" y="57"/>
                  <a:pt x="97" y="32"/>
                  <a:pt x="76" y="6"/>
                </a:cubicBezTo>
                <a:cubicBezTo>
                  <a:pt x="76" y="5"/>
                  <a:pt x="76" y="5"/>
                  <a:pt x="76" y="5"/>
                </a:cubicBezTo>
                <a:cubicBezTo>
                  <a:pt x="80" y="8"/>
                  <a:pt x="99" y="24"/>
                  <a:pt x="99" y="5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>
              <a:solidFill>
                <a:srgbClr val="7F7F7F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400" tmFilter="0,0; .5, 1; 1, 1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120"/>
                            </p:stCondLst>
                            <p:childTnLst>
                              <p:par>
                                <p:cTn id="13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120"/>
                            </p:stCondLst>
                            <p:childTnLst>
                              <p:par>
                                <p:cTn id="2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620"/>
                            </p:stCondLst>
                            <p:childTnLst>
                              <p:par>
                                <p:cTn id="24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120"/>
                            </p:stCondLst>
                            <p:childTnLst>
                              <p:par>
                                <p:cTn id="28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3620"/>
                            </p:stCondLst>
                            <p:childTnLst>
                              <p:par>
                                <p:cTn id="3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120"/>
                            </p:stCondLst>
                            <p:childTnLst>
                              <p:par>
                                <p:cTn id="3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4620"/>
                            </p:stCondLst>
                            <p:childTnLst>
                              <p:par>
                                <p:cTn id="4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120"/>
                            </p:stCondLst>
                            <p:childTnLst>
                              <p:par>
                                <p:cTn id="4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620"/>
                            </p:stCondLst>
                            <p:childTnLst>
                              <p:par>
                                <p:cTn id="4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6120"/>
                            </p:stCondLst>
                            <p:childTnLst>
                              <p:par>
                                <p:cTn id="5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6620"/>
                            </p:stCondLst>
                            <p:childTnLst>
                              <p:par>
                                <p:cTn id="5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7120"/>
                            </p:stCondLst>
                            <p:childTnLst>
                              <p:par>
                                <p:cTn id="6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7620"/>
                            </p:stCondLst>
                            <p:childTnLst>
                              <p:par>
                                <p:cTn id="69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8120"/>
                            </p:stCondLst>
                            <p:childTnLst>
                              <p:par>
                                <p:cTn id="7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8620"/>
                            </p:stCondLst>
                            <p:childTnLst>
                              <p:par>
                                <p:cTn id="7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9120"/>
                            </p:stCondLst>
                            <p:childTnLst>
                              <p:par>
                                <p:cTn id="8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 bldLvl="0" animBg="1"/>
      <p:bldP spid="12" grpId="0" bldLvl="0" animBg="1"/>
      <p:bldP spid="13" grpId="0"/>
      <p:bldP spid="14" grpId="0"/>
      <p:bldP spid="15" grpId="0"/>
      <p:bldP spid="2" grpId="0"/>
      <p:bldP spid="3" grpId="0"/>
      <p:bldP spid="16" grpId="0"/>
      <p:bldP spid="17" grpId="0"/>
      <p:bldP spid="18" grpId="0"/>
      <p:bldP spid="19" grpId="0" bldLvl="0" animBg="1"/>
      <p:bldP spid="24" grpId="0" bldLvl="0" animBg="1"/>
      <p:bldP spid="25" grpId="0" bldLvl="0" animBg="1"/>
      <p:bldP spid="29" grpId="0" bldLvl="0" animBg="1"/>
      <p:bldP spid="30" grpId="0" bldLvl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38646"/>
            <a:ext cx="9144000" cy="5144038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735" y="289649"/>
            <a:ext cx="9144000" cy="5144038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652084" y="-38646"/>
            <a:ext cx="1491916" cy="1049299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2042667"/>
            <a:ext cx="9144000" cy="3078298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801430"/>
            <a:ext cx="9144000" cy="3303660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2180" y="673218"/>
            <a:ext cx="4739639" cy="186015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3776107" y="926186"/>
            <a:ext cx="2540686" cy="135421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defTabSz="68516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4400" b="1" dirty="0">
                <a:solidFill>
                  <a:schemeClr val="accent2"/>
                </a:solidFill>
                <a:cs typeface="+mn-ea"/>
                <a:sym typeface="+mn-lt"/>
              </a:rPr>
              <a:t>Teaching</a:t>
            </a:r>
          </a:p>
          <a:p>
            <a:pPr defTabSz="68516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4400" b="1" dirty="0">
                <a:solidFill>
                  <a:schemeClr val="accent2"/>
                </a:solidFill>
                <a:cs typeface="+mn-ea"/>
                <a:sym typeface="+mn-lt"/>
              </a:rPr>
              <a:t>Process</a:t>
            </a:r>
            <a:endParaRPr lang="zh-CN" altLang="en-US" sz="4400" b="1" dirty="0">
              <a:solidFill>
                <a:schemeClr val="accent2"/>
              </a:solidFill>
              <a:cs typeface="+mn-ea"/>
              <a:sym typeface="+mn-lt"/>
            </a:endParaRP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899610" y="1284908"/>
            <a:ext cx="733926" cy="589547"/>
          </a:xfrm>
          <a:prstGeom prst="rect">
            <a:avLst/>
          </a:prstGeom>
        </p:spPr>
      </p:pic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56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40" dur="3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41" dur="3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42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43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31"/>
          <p:cNvSpPr txBox="1"/>
          <p:nvPr/>
        </p:nvSpPr>
        <p:spPr>
          <a:xfrm>
            <a:off x="1967706" y="186622"/>
            <a:ext cx="5208588" cy="646331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defPPr>
              <a:defRPr lang="zh-CN"/>
            </a:defPPr>
            <a:lvl1pPr lvl="0">
              <a:defRPr sz="3600" b="1">
                <a:solidFill>
                  <a:schemeClr val="accent2"/>
                </a:solidFill>
                <a:cs typeface="+mn-ea"/>
              </a:defRPr>
            </a:lvl1pPr>
          </a:lstStyle>
          <a:p>
            <a:pPr algn="ctr"/>
            <a:r>
              <a:rPr lang="en-US" altLang="zh-CN" dirty="0">
                <a:sym typeface="+mn-lt"/>
              </a:rPr>
              <a:t>Preparation</a:t>
            </a:r>
            <a:endParaRPr lang="zh-CN" altLang="en-US" dirty="0">
              <a:sym typeface="+mn-lt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1056166" y="2213928"/>
            <a:ext cx="611981" cy="611981"/>
            <a:chOff x="1343821" y="1280478"/>
            <a:chExt cx="611981" cy="611981"/>
          </a:xfrm>
        </p:grpSpPr>
        <p:sp>
          <p:nvSpPr>
            <p:cNvPr id="4" name="Shape 697"/>
            <p:cNvSpPr/>
            <p:nvPr/>
          </p:nvSpPr>
          <p:spPr>
            <a:xfrm>
              <a:off x="1343821" y="1280478"/>
              <a:ext cx="611981" cy="611981"/>
            </a:xfrm>
            <a:prstGeom prst="diamond">
              <a:avLst/>
            </a:prstGeom>
            <a:solidFill>
              <a:srgbClr val="ADACC8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>
                <a:defRPr sz="3200">
                  <a:solidFill>
                    <a:srgbClr val="FFFFFF"/>
                  </a:solidFill>
                  <a:latin typeface="Calibri" panose="020F0502020204030204" charset="0"/>
                  <a:ea typeface="+mn-ea"/>
                  <a:cs typeface="+mn-ea"/>
                  <a:sym typeface="Helvetica Light"/>
                </a:defRPr>
              </a:pPr>
              <a:endParaRPr sz="2400" kern="0">
                <a:solidFill>
                  <a:srgbClr val="7F7F7F"/>
                </a:solidFill>
                <a:cs typeface="+mn-ea"/>
                <a:sym typeface="+mn-lt"/>
              </a:endParaRPr>
            </a:p>
          </p:txBody>
        </p:sp>
        <p:sp>
          <p:nvSpPr>
            <p:cNvPr id="5" name="Shape 698"/>
            <p:cNvSpPr/>
            <p:nvPr/>
          </p:nvSpPr>
          <p:spPr>
            <a:xfrm>
              <a:off x="1512574" y="1490491"/>
              <a:ext cx="274474" cy="22340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480" h="21024" extrusionOk="0">
                  <a:moveTo>
                    <a:pt x="18800" y="1728"/>
                  </a:moveTo>
                  <a:cubicBezTo>
                    <a:pt x="16810" y="-576"/>
                    <a:pt x="13583" y="-576"/>
                    <a:pt x="11591" y="1728"/>
                  </a:cubicBezTo>
                  <a:lnTo>
                    <a:pt x="10239" y="3293"/>
                  </a:lnTo>
                  <a:lnTo>
                    <a:pt x="8887" y="1728"/>
                  </a:lnTo>
                  <a:cubicBezTo>
                    <a:pt x="6897" y="-576"/>
                    <a:pt x="3670" y="-576"/>
                    <a:pt x="1680" y="1728"/>
                  </a:cubicBezTo>
                  <a:cubicBezTo>
                    <a:pt x="-560" y="4320"/>
                    <a:pt x="-560" y="8522"/>
                    <a:pt x="1680" y="11115"/>
                  </a:cubicBezTo>
                  <a:lnTo>
                    <a:pt x="10239" y="21024"/>
                  </a:lnTo>
                  <a:lnTo>
                    <a:pt x="18800" y="11115"/>
                  </a:lnTo>
                  <a:cubicBezTo>
                    <a:pt x="21040" y="8522"/>
                    <a:pt x="21040" y="4320"/>
                    <a:pt x="18800" y="1728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28575" tIns="28575" rIns="28575" bIns="28575" numCol="1" anchor="ctr">
              <a:noAutofit/>
            </a:bodyPr>
            <a:lstStyle/>
            <a:p>
              <a:pPr>
                <a:defRPr sz="3100" b="1">
                  <a:latin typeface="Kontrapunkt Bob Bold"/>
                  <a:ea typeface="Kontrapunkt Bob Bold"/>
                  <a:cs typeface="Kontrapunkt Bob Bold"/>
                  <a:sym typeface="Kontrapunkt Bob Bold"/>
                </a:defRPr>
              </a:pPr>
              <a:endParaRPr sz="2325" b="1" kern="0">
                <a:solidFill>
                  <a:srgbClr val="7F7F7F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3008145" y="2213928"/>
            <a:ext cx="611981" cy="611981"/>
            <a:chOff x="3295800" y="1280478"/>
            <a:chExt cx="611981" cy="611981"/>
          </a:xfrm>
        </p:grpSpPr>
        <p:sp>
          <p:nvSpPr>
            <p:cNvPr id="8" name="Shape 700"/>
            <p:cNvSpPr/>
            <p:nvPr/>
          </p:nvSpPr>
          <p:spPr>
            <a:xfrm>
              <a:off x="3295800" y="1280478"/>
              <a:ext cx="611981" cy="611981"/>
            </a:xfrm>
            <a:prstGeom prst="diamond">
              <a:avLst/>
            </a:pr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>
                <a:defRPr sz="3200">
                  <a:solidFill>
                    <a:srgbClr val="FFFFFF"/>
                  </a:solidFill>
                  <a:latin typeface="Calibri" panose="020F0502020204030204" charset="0"/>
                  <a:ea typeface="+mn-ea"/>
                  <a:cs typeface="+mn-ea"/>
                  <a:sym typeface="Helvetica Light"/>
                </a:defRPr>
              </a:pPr>
              <a:endParaRPr sz="2400" kern="0">
                <a:solidFill>
                  <a:srgbClr val="7F7F7F"/>
                </a:solidFill>
                <a:cs typeface="+mn-ea"/>
                <a:sym typeface="+mn-lt"/>
              </a:endParaRPr>
            </a:p>
          </p:txBody>
        </p:sp>
        <p:sp>
          <p:nvSpPr>
            <p:cNvPr id="9" name="Shape 701"/>
            <p:cNvSpPr/>
            <p:nvPr/>
          </p:nvSpPr>
          <p:spPr>
            <a:xfrm>
              <a:off x="3512550" y="1439678"/>
              <a:ext cx="178481" cy="325034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0407" y="3476"/>
                  </a:moveTo>
                  <a:cubicBezTo>
                    <a:pt x="16335" y="5612"/>
                    <a:pt x="16335" y="5612"/>
                    <a:pt x="16335" y="5612"/>
                  </a:cubicBezTo>
                  <a:cubicBezTo>
                    <a:pt x="14486" y="4583"/>
                    <a:pt x="12660" y="4068"/>
                    <a:pt x="10835" y="4068"/>
                  </a:cubicBezTo>
                  <a:cubicBezTo>
                    <a:pt x="9782" y="4068"/>
                    <a:pt x="8916" y="4222"/>
                    <a:pt x="8237" y="4531"/>
                  </a:cubicBezTo>
                  <a:cubicBezTo>
                    <a:pt x="7582" y="4827"/>
                    <a:pt x="7231" y="5188"/>
                    <a:pt x="7231" y="5587"/>
                  </a:cubicBezTo>
                  <a:cubicBezTo>
                    <a:pt x="7231" y="5921"/>
                    <a:pt x="7535" y="6256"/>
                    <a:pt x="8120" y="6591"/>
                  </a:cubicBezTo>
                  <a:cubicBezTo>
                    <a:pt x="8706" y="6938"/>
                    <a:pt x="9876" y="7299"/>
                    <a:pt x="11631" y="7685"/>
                  </a:cubicBezTo>
                  <a:cubicBezTo>
                    <a:pt x="14743" y="8380"/>
                    <a:pt x="16873" y="8972"/>
                    <a:pt x="18020" y="9461"/>
                  </a:cubicBezTo>
                  <a:cubicBezTo>
                    <a:pt x="19166" y="9950"/>
                    <a:pt x="20055" y="10530"/>
                    <a:pt x="20687" y="11225"/>
                  </a:cubicBezTo>
                  <a:cubicBezTo>
                    <a:pt x="21296" y="11907"/>
                    <a:pt x="21600" y="12679"/>
                    <a:pt x="21600" y="13529"/>
                  </a:cubicBezTo>
                  <a:cubicBezTo>
                    <a:pt x="21600" y="14379"/>
                    <a:pt x="21272" y="15177"/>
                    <a:pt x="20617" y="15897"/>
                  </a:cubicBezTo>
                  <a:cubicBezTo>
                    <a:pt x="19962" y="16618"/>
                    <a:pt x="19096" y="17198"/>
                    <a:pt x="18066" y="17622"/>
                  </a:cubicBezTo>
                  <a:cubicBezTo>
                    <a:pt x="17037" y="18034"/>
                    <a:pt x="15539" y="18356"/>
                    <a:pt x="13573" y="18575"/>
                  </a:cubicBezTo>
                  <a:cubicBezTo>
                    <a:pt x="13573" y="21600"/>
                    <a:pt x="13573" y="21600"/>
                    <a:pt x="13573" y="21600"/>
                  </a:cubicBezTo>
                  <a:cubicBezTo>
                    <a:pt x="9618" y="21600"/>
                    <a:pt x="9618" y="21600"/>
                    <a:pt x="9618" y="21600"/>
                  </a:cubicBezTo>
                  <a:cubicBezTo>
                    <a:pt x="9618" y="18652"/>
                    <a:pt x="9618" y="18652"/>
                    <a:pt x="9618" y="18652"/>
                  </a:cubicBezTo>
                  <a:cubicBezTo>
                    <a:pt x="7793" y="18536"/>
                    <a:pt x="6225" y="18292"/>
                    <a:pt x="4938" y="17906"/>
                  </a:cubicBezTo>
                  <a:cubicBezTo>
                    <a:pt x="3159" y="17378"/>
                    <a:pt x="1521" y="16670"/>
                    <a:pt x="0" y="15795"/>
                  </a:cubicBezTo>
                  <a:cubicBezTo>
                    <a:pt x="4002" y="13593"/>
                    <a:pt x="4002" y="13593"/>
                    <a:pt x="4002" y="13593"/>
                  </a:cubicBezTo>
                  <a:cubicBezTo>
                    <a:pt x="6576" y="15061"/>
                    <a:pt x="9057" y="15795"/>
                    <a:pt x="11444" y="15795"/>
                  </a:cubicBezTo>
                  <a:cubicBezTo>
                    <a:pt x="12684" y="15795"/>
                    <a:pt x="13714" y="15563"/>
                    <a:pt x="14603" y="15112"/>
                  </a:cubicBezTo>
                  <a:cubicBezTo>
                    <a:pt x="15469" y="14649"/>
                    <a:pt x="15913" y="14121"/>
                    <a:pt x="15913" y="13503"/>
                  </a:cubicBezTo>
                  <a:cubicBezTo>
                    <a:pt x="15913" y="12975"/>
                    <a:pt x="15633" y="12525"/>
                    <a:pt x="15071" y="12126"/>
                  </a:cubicBezTo>
                  <a:cubicBezTo>
                    <a:pt x="14509" y="11740"/>
                    <a:pt x="13386" y="11341"/>
                    <a:pt x="11748" y="10929"/>
                  </a:cubicBezTo>
                  <a:cubicBezTo>
                    <a:pt x="8401" y="10105"/>
                    <a:pt x="6155" y="9436"/>
                    <a:pt x="4961" y="8946"/>
                  </a:cubicBezTo>
                  <a:cubicBezTo>
                    <a:pt x="3791" y="8470"/>
                    <a:pt x="2902" y="7917"/>
                    <a:pt x="2317" y="7312"/>
                  </a:cubicBezTo>
                  <a:cubicBezTo>
                    <a:pt x="1732" y="6707"/>
                    <a:pt x="1451" y="6063"/>
                    <a:pt x="1451" y="5368"/>
                  </a:cubicBezTo>
                  <a:cubicBezTo>
                    <a:pt x="1451" y="4235"/>
                    <a:pt x="2223" y="3257"/>
                    <a:pt x="3768" y="2446"/>
                  </a:cubicBezTo>
                  <a:cubicBezTo>
                    <a:pt x="5312" y="1635"/>
                    <a:pt x="7255" y="1197"/>
                    <a:pt x="9618" y="1133"/>
                  </a:cubicBezTo>
                  <a:cubicBezTo>
                    <a:pt x="9618" y="0"/>
                    <a:pt x="9618" y="0"/>
                    <a:pt x="9618" y="0"/>
                  </a:cubicBezTo>
                  <a:cubicBezTo>
                    <a:pt x="13573" y="0"/>
                    <a:pt x="13573" y="0"/>
                    <a:pt x="13573" y="0"/>
                  </a:cubicBezTo>
                  <a:cubicBezTo>
                    <a:pt x="13573" y="1287"/>
                    <a:pt x="13573" y="1287"/>
                    <a:pt x="13573" y="1287"/>
                  </a:cubicBezTo>
                  <a:cubicBezTo>
                    <a:pt x="14954" y="1455"/>
                    <a:pt x="16101" y="1686"/>
                    <a:pt x="17037" y="1982"/>
                  </a:cubicBezTo>
                  <a:cubicBezTo>
                    <a:pt x="17996" y="2278"/>
                    <a:pt x="19119" y="2780"/>
                    <a:pt x="20407" y="3476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>
                <a:defRPr sz="3100" b="1">
                  <a:latin typeface="Kontrapunkt Bob Bold"/>
                  <a:ea typeface="Kontrapunkt Bob Bold"/>
                  <a:cs typeface="Kontrapunkt Bob Bold"/>
                  <a:sym typeface="Kontrapunkt Bob Bold"/>
                </a:defRPr>
              </a:pPr>
              <a:endParaRPr sz="2325" b="1" kern="0">
                <a:solidFill>
                  <a:srgbClr val="7F7F7F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0" name="组合 9"/>
          <p:cNvGrpSpPr/>
          <p:nvPr/>
        </p:nvGrpSpPr>
        <p:grpSpPr>
          <a:xfrm>
            <a:off x="4960125" y="2213928"/>
            <a:ext cx="611981" cy="611981"/>
            <a:chOff x="5247780" y="1280478"/>
            <a:chExt cx="611981" cy="611981"/>
          </a:xfrm>
        </p:grpSpPr>
        <p:sp>
          <p:nvSpPr>
            <p:cNvPr id="11" name="Shape 703"/>
            <p:cNvSpPr/>
            <p:nvPr/>
          </p:nvSpPr>
          <p:spPr>
            <a:xfrm>
              <a:off x="5247780" y="1280478"/>
              <a:ext cx="611981" cy="611981"/>
            </a:xfrm>
            <a:prstGeom prst="diamond">
              <a:avLst/>
            </a:prstGeom>
            <a:solidFill>
              <a:srgbClr val="ADACC8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>
                <a:defRPr sz="3200">
                  <a:solidFill>
                    <a:srgbClr val="FFFFFF"/>
                  </a:solidFill>
                  <a:latin typeface="Calibri" panose="020F0502020204030204" charset="0"/>
                  <a:ea typeface="+mn-ea"/>
                  <a:cs typeface="+mn-ea"/>
                  <a:sym typeface="Helvetica Light"/>
                </a:defRPr>
              </a:pPr>
              <a:endParaRPr sz="2400" kern="0">
                <a:solidFill>
                  <a:srgbClr val="7F7F7F"/>
                </a:solidFill>
                <a:cs typeface="+mn-ea"/>
                <a:sym typeface="+mn-lt"/>
              </a:endParaRPr>
            </a:p>
          </p:txBody>
        </p:sp>
        <p:sp>
          <p:nvSpPr>
            <p:cNvPr id="12" name="Shape 704"/>
            <p:cNvSpPr/>
            <p:nvPr/>
          </p:nvSpPr>
          <p:spPr>
            <a:xfrm>
              <a:off x="5413386" y="1439678"/>
              <a:ext cx="280768" cy="2511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177" h="21458" extrusionOk="0">
                  <a:moveTo>
                    <a:pt x="20906" y="11130"/>
                  </a:moveTo>
                  <a:lnTo>
                    <a:pt x="11466" y="425"/>
                  </a:lnTo>
                  <a:cubicBezTo>
                    <a:pt x="10983" y="-142"/>
                    <a:pt x="10193" y="-142"/>
                    <a:pt x="9710" y="425"/>
                  </a:cubicBezTo>
                  <a:lnTo>
                    <a:pt x="271" y="11130"/>
                  </a:lnTo>
                  <a:cubicBezTo>
                    <a:pt x="-212" y="11696"/>
                    <a:pt x="-32" y="12160"/>
                    <a:pt x="671" y="12160"/>
                  </a:cubicBezTo>
                  <a:lnTo>
                    <a:pt x="2638" y="12160"/>
                  </a:lnTo>
                  <a:lnTo>
                    <a:pt x="2638" y="20381"/>
                  </a:lnTo>
                  <a:cubicBezTo>
                    <a:pt x="2638" y="20976"/>
                    <a:pt x="2661" y="21458"/>
                    <a:pt x="3609" y="21458"/>
                  </a:cubicBezTo>
                  <a:lnTo>
                    <a:pt x="8190" y="21458"/>
                  </a:lnTo>
                  <a:lnTo>
                    <a:pt x="8190" y="13214"/>
                  </a:lnTo>
                  <a:lnTo>
                    <a:pt x="12986" y="13214"/>
                  </a:lnTo>
                  <a:lnTo>
                    <a:pt x="12986" y="21458"/>
                  </a:lnTo>
                  <a:lnTo>
                    <a:pt x="17795" y="21458"/>
                  </a:lnTo>
                  <a:cubicBezTo>
                    <a:pt x="18518" y="21458"/>
                    <a:pt x="18538" y="20976"/>
                    <a:pt x="18538" y="20381"/>
                  </a:cubicBezTo>
                  <a:lnTo>
                    <a:pt x="18538" y="12160"/>
                  </a:lnTo>
                  <a:lnTo>
                    <a:pt x="20505" y="12160"/>
                  </a:lnTo>
                  <a:cubicBezTo>
                    <a:pt x="21208" y="12160"/>
                    <a:pt x="21388" y="11696"/>
                    <a:pt x="20906" y="11130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28575" tIns="28575" rIns="28575" bIns="28575" numCol="1" anchor="ctr">
              <a:noAutofit/>
            </a:bodyPr>
            <a:lstStyle/>
            <a:p>
              <a:pPr>
                <a:defRPr sz="3100" b="1">
                  <a:latin typeface="Kontrapunkt Bob Bold"/>
                  <a:ea typeface="Kontrapunkt Bob Bold"/>
                  <a:cs typeface="Kontrapunkt Bob Bold"/>
                  <a:sym typeface="Kontrapunkt Bob Bold"/>
                </a:defRPr>
              </a:pPr>
              <a:endParaRPr sz="2325" b="1" kern="0">
                <a:solidFill>
                  <a:srgbClr val="7F7F7F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6912104" y="2213928"/>
            <a:ext cx="611981" cy="611981"/>
            <a:chOff x="7199759" y="1280478"/>
            <a:chExt cx="611981" cy="611981"/>
          </a:xfrm>
        </p:grpSpPr>
        <p:sp>
          <p:nvSpPr>
            <p:cNvPr id="14" name="Shape 706"/>
            <p:cNvSpPr/>
            <p:nvPr/>
          </p:nvSpPr>
          <p:spPr>
            <a:xfrm>
              <a:off x="7199759" y="1280478"/>
              <a:ext cx="611981" cy="611981"/>
            </a:xfrm>
            <a:prstGeom prst="diamond">
              <a:avLst/>
            </a:pr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38100" tIns="38100" rIns="38100" bIns="38100" numCol="1" anchor="ctr">
              <a:noAutofit/>
            </a:bodyPr>
            <a:lstStyle/>
            <a:p>
              <a:pPr>
                <a:defRPr sz="3200">
                  <a:solidFill>
                    <a:srgbClr val="FFFFFF"/>
                  </a:solidFill>
                  <a:latin typeface="Calibri" panose="020F0502020204030204" charset="0"/>
                  <a:ea typeface="+mn-ea"/>
                  <a:cs typeface="+mn-ea"/>
                  <a:sym typeface="Helvetica Light"/>
                </a:defRPr>
              </a:pPr>
              <a:endParaRPr sz="2400" kern="0">
                <a:solidFill>
                  <a:srgbClr val="7F7F7F"/>
                </a:solidFill>
                <a:cs typeface="+mn-ea"/>
                <a:sym typeface="+mn-lt"/>
              </a:endParaRPr>
            </a:p>
          </p:txBody>
        </p:sp>
        <p:sp>
          <p:nvSpPr>
            <p:cNvPr id="15" name="Shape 707"/>
            <p:cNvSpPr/>
            <p:nvPr/>
          </p:nvSpPr>
          <p:spPr>
            <a:xfrm>
              <a:off x="7385761" y="1456085"/>
              <a:ext cx="239975" cy="25113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0781" h="20933" extrusionOk="0">
                  <a:moveTo>
                    <a:pt x="18450" y="13962"/>
                  </a:moveTo>
                  <a:cubicBezTo>
                    <a:pt x="18104" y="14098"/>
                    <a:pt x="15778" y="12331"/>
                    <a:pt x="14291" y="9001"/>
                  </a:cubicBezTo>
                  <a:cubicBezTo>
                    <a:pt x="12804" y="5669"/>
                    <a:pt x="12992" y="2625"/>
                    <a:pt x="13337" y="2491"/>
                  </a:cubicBezTo>
                  <a:cubicBezTo>
                    <a:pt x="13683" y="2355"/>
                    <a:pt x="15952" y="4486"/>
                    <a:pt x="17438" y="7816"/>
                  </a:cubicBezTo>
                  <a:cubicBezTo>
                    <a:pt x="18925" y="11146"/>
                    <a:pt x="18797" y="13826"/>
                    <a:pt x="18450" y="13962"/>
                  </a:cubicBezTo>
                  <a:close/>
                  <a:moveTo>
                    <a:pt x="19117" y="7012"/>
                  </a:moveTo>
                  <a:cubicBezTo>
                    <a:pt x="17204" y="2727"/>
                    <a:pt x="14125" y="-537"/>
                    <a:pt x="12567" y="74"/>
                  </a:cubicBezTo>
                  <a:cubicBezTo>
                    <a:pt x="9922" y="1108"/>
                    <a:pt x="14143" y="6078"/>
                    <a:pt x="1154" y="11160"/>
                  </a:cubicBezTo>
                  <a:cubicBezTo>
                    <a:pt x="32" y="11600"/>
                    <a:pt x="-253" y="13356"/>
                    <a:pt x="217" y="14406"/>
                  </a:cubicBezTo>
                  <a:cubicBezTo>
                    <a:pt x="685" y="15456"/>
                    <a:pt x="2220" y="16502"/>
                    <a:pt x="3342" y="16062"/>
                  </a:cubicBezTo>
                  <a:cubicBezTo>
                    <a:pt x="3537" y="15987"/>
                    <a:pt x="4250" y="15766"/>
                    <a:pt x="4250" y="15766"/>
                  </a:cubicBezTo>
                  <a:cubicBezTo>
                    <a:pt x="5051" y="16802"/>
                    <a:pt x="5889" y="16187"/>
                    <a:pt x="6186" y="16845"/>
                  </a:cubicBezTo>
                  <a:cubicBezTo>
                    <a:pt x="6544" y="17635"/>
                    <a:pt x="7322" y="19353"/>
                    <a:pt x="7586" y="19939"/>
                  </a:cubicBezTo>
                  <a:cubicBezTo>
                    <a:pt x="7850" y="20522"/>
                    <a:pt x="8450" y="21063"/>
                    <a:pt x="8885" y="20905"/>
                  </a:cubicBezTo>
                  <a:cubicBezTo>
                    <a:pt x="9318" y="20745"/>
                    <a:pt x="10797" y="20203"/>
                    <a:pt x="11362" y="19997"/>
                  </a:cubicBezTo>
                  <a:cubicBezTo>
                    <a:pt x="11927" y="19790"/>
                    <a:pt x="12062" y="19306"/>
                    <a:pt x="11889" y="18922"/>
                  </a:cubicBezTo>
                  <a:cubicBezTo>
                    <a:pt x="11703" y="18510"/>
                    <a:pt x="10939" y="18390"/>
                    <a:pt x="10721" y="17908"/>
                  </a:cubicBezTo>
                  <a:cubicBezTo>
                    <a:pt x="10503" y="17428"/>
                    <a:pt x="9791" y="15886"/>
                    <a:pt x="9586" y="15400"/>
                  </a:cubicBezTo>
                  <a:cubicBezTo>
                    <a:pt x="9308" y="14739"/>
                    <a:pt x="9899" y="14201"/>
                    <a:pt x="10759" y="14116"/>
                  </a:cubicBezTo>
                  <a:cubicBezTo>
                    <a:pt x="16671" y="13522"/>
                    <a:pt x="17775" y="17037"/>
                    <a:pt x="19789" y="16249"/>
                  </a:cubicBezTo>
                  <a:cubicBezTo>
                    <a:pt x="21347" y="15640"/>
                    <a:pt x="21030" y="11296"/>
                    <a:pt x="19117" y="7012"/>
                  </a:cubicBez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28575" tIns="28575" rIns="28575" bIns="28575" numCol="1" anchor="ctr">
              <a:noAutofit/>
            </a:bodyPr>
            <a:lstStyle/>
            <a:p>
              <a:pPr>
                <a:defRPr sz="3100" b="1">
                  <a:latin typeface="Kontrapunkt Bob Bold"/>
                  <a:ea typeface="Kontrapunkt Bob Bold"/>
                  <a:cs typeface="Kontrapunkt Bob Bold"/>
                  <a:sym typeface="Kontrapunkt Bob Bold"/>
                </a:defRPr>
              </a:pPr>
              <a:endParaRPr sz="2325" b="1" kern="0">
                <a:solidFill>
                  <a:srgbClr val="7F7F7F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6" name="Text Placeholder 2"/>
          <p:cNvSpPr txBox="1"/>
          <p:nvPr/>
        </p:nvSpPr>
        <p:spPr>
          <a:xfrm>
            <a:off x="671035" y="2908174"/>
            <a:ext cx="1382165" cy="234908"/>
          </a:xfrm>
          <a:prstGeom prst="rect">
            <a:avLst/>
          </a:prstGeom>
          <a:noFill/>
          <a:effectLst/>
        </p:spPr>
        <p:txBody>
          <a:bodyPr vert="horz" lIns="0" tIns="34290" rIns="0" bIns="3429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kern="1200" baseline="0">
                <a:solidFill>
                  <a:srgbClr val="ADACC8"/>
                </a:solidFill>
                <a:latin typeface="+mn-ea"/>
                <a:ea typeface="+mn-ea"/>
                <a:cs typeface="+mn-ea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9pPr>
          </a:lstStyle>
          <a:p>
            <a:pPr algn="ctr"/>
            <a:r>
              <a:rPr lang="en-US" altLang="zh-CN" sz="1350" dirty="0">
                <a:solidFill>
                  <a:srgbClr val="7F7F7F"/>
                </a:solidFill>
                <a:latin typeface="+mn-lt"/>
                <a:sym typeface="+mn-lt"/>
              </a:rPr>
              <a:t>Add title text</a:t>
            </a:r>
            <a:endParaRPr lang="en-GB" sz="1350" dirty="0">
              <a:solidFill>
                <a:srgbClr val="7F7F7F"/>
              </a:solidFill>
              <a:latin typeface="+mn-lt"/>
              <a:sym typeface="+mn-lt"/>
            </a:endParaRPr>
          </a:p>
        </p:txBody>
      </p:sp>
      <p:sp>
        <p:nvSpPr>
          <p:cNvPr id="17" name="Text Placeholder 2"/>
          <p:cNvSpPr txBox="1"/>
          <p:nvPr/>
        </p:nvSpPr>
        <p:spPr>
          <a:xfrm>
            <a:off x="2606557" y="2908174"/>
            <a:ext cx="1382165" cy="234908"/>
          </a:xfrm>
          <a:prstGeom prst="rect">
            <a:avLst/>
          </a:prstGeom>
          <a:noFill/>
          <a:effectLst/>
        </p:spPr>
        <p:txBody>
          <a:bodyPr vert="horz" lIns="0" tIns="34290" rIns="0" bIns="3429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kern="1200" baseline="0">
                <a:solidFill>
                  <a:srgbClr val="ADACC8"/>
                </a:solidFill>
                <a:latin typeface="+mn-ea"/>
                <a:ea typeface="+mn-ea"/>
                <a:cs typeface="+mn-ea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9pPr>
          </a:lstStyle>
          <a:p>
            <a:pPr algn="ctr"/>
            <a:r>
              <a:rPr lang="en-US" altLang="zh-CN" sz="1350" dirty="0">
                <a:solidFill>
                  <a:srgbClr val="7F7F7F"/>
                </a:solidFill>
                <a:latin typeface="+mn-lt"/>
                <a:sym typeface="+mn-lt"/>
              </a:rPr>
              <a:t>Add title text</a:t>
            </a:r>
            <a:endParaRPr lang="en-GB" sz="1350" dirty="0">
              <a:solidFill>
                <a:srgbClr val="7F7F7F"/>
              </a:solidFill>
              <a:latin typeface="+mn-lt"/>
              <a:sym typeface="+mn-lt"/>
            </a:endParaRPr>
          </a:p>
        </p:txBody>
      </p:sp>
      <p:sp>
        <p:nvSpPr>
          <p:cNvPr id="18" name="Text Placeholder 2"/>
          <p:cNvSpPr txBox="1"/>
          <p:nvPr/>
        </p:nvSpPr>
        <p:spPr>
          <a:xfrm>
            <a:off x="4579968" y="2908174"/>
            <a:ext cx="1382165" cy="234908"/>
          </a:xfrm>
          <a:prstGeom prst="rect">
            <a:avLst/>
          </a:prstGeom>
          <a:noFill/>
          <a:effectLst/>
        </p:spPr>
        <p:txBody>
          <a:bodyPr vert="horz" lIns="0" tIns="34290" rIns="0" bIns="3429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kern="1200" baseline="0">
                <a:solidFill>
                  <a:srgbClr val="ADACC8"/>
                </a:solidFill>
                <a:latin typeface="+mn-ea"/>
                <a:ea typeface="+mn-ea"/>
                <a:cs typeface="+mn-ea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9pPr>
          </a:lstStyle>
          <a:p>
            <a:pPr algn="ctr"/>
            <a:r>
              <a:rPr lang="en-US" altLang="zh-CN" sz="1350" dirty="0">
                <a:solidFill>
                  <a:srgbClr val="7F7F7F"/>
                </a:solidFill>
                <a:latin typeface="+mn-lt"/>
                <a:sym typeface="+mn-lt"/>
              </a:rPr>
              <a:t>Add title text</a:t>
            </a:r>
            <a:endParaRPr lang="en-GB" sz="1350" dirty="0">
              <a:solidFill>
                <a:srgbClr val="7F7F7F"/>
              </a:solidFill>
              <a:latin typeface="+mn-lt"/>
              <a:sym typeface="+mn-lt"/>
            </a:endParaRPr>
          </a:p>
        </p:txBody>
      </p:sp>
      <p:sp>
        <p:nvSpPr>
          <p:cNvPr id="19" name="Text Placeholder 2"/>
          <p:cNvSpPr txBox="1"/>
          <p:nvPr/>
        </p:nvSpPr>
        <p:spPr>
          <a:xfrm>
            <a:off x="6515491" y="2908174"/>
            <a:ext cx="1382165" cy="234908"/>
          </a:xfrm>
          <a:prstGeom prst="rect">
            <a:avLst/>
          </a:prstGeom>
          <a:noFill/>
          <a:effectLst/>
        </p:spPr>
        <p:txBody>
          <a:bodyPr vert="horz" lIns="0" tIns="34290" rIns="0" bIns="34290" rtlCol="0" anchor="ctr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0" kern="1200" baseline="0">
                <a:solidFill>
                  <a:srgbClr val="ADACC8"/>
                </a:solidFill>
                <a:latin typeface="+mn-ea"/>
                <a:ea typeface="+mn-ea"/>
                <a:cs typeface="+mn-ea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0000"/>
                </a:solidFill>
                <a:latin typeface="Calibri" panose="020F0502020204030204" charset="0"/>
                <a:ea typeface="+mn-ea"/>
                <a:cs typeface="+mn-ea"/>
              </a:defRPr>
            </a:lvl9pPr>
          </a:lstStyle>
          <a:p>
            <a:pPr algn="ctr"/>
            <a:r>
              <a:rPr lang="en-US" altLang="zh-CN" sz="1350" dirty="0">
                <a:solidFill>
                  <a:srgbClr val="7F7F7F"/>
                </a:solidFill>
                <a:latin typeface="+mn-lt"/>
                <a:sym typeface="+mn-lt"/>
              </a:rPr>
              <a:t>Add title text</a:t>
            </a:r>
            <a:endParaRPr lang="en-GB" sz="1350" dirty="0">
              <a:solidFill>
                <a:srgbClr val="7F7F7F"/>
              </a:solidFill>
              <a:latin typeface="+mn-lt"/>
              <a:sym typeface="+mn-lt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2516455" y="3143083"/>
            <a:ext cx="1614361" cy="47628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lvl="0" algn="ctr">
              <a:lnSpc>
                <a:spcPct val="130000"/>
              </a:lnSpc>
            </a:pPr>
            <a:r>
              <a:rPr lang="en-US" altLang="zh-CN" sz="10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0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4473370" y="3143083"/>
            <a:ext cx="1614361" cy="47628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lvl="0" algn="ctr">
              <a:lnSpc>
                <a:spcPct val="130000"/>
              </a:lnSpc>
            </a:pPr>
            <a:r>
              <a:rPr lang="en-US" altLang="zh-CN" sz="10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0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6408892" y="3143083"/>
            <a:ext cx="1614361" cy="47628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lvl="0" algn="ctr">
              <a:lnSpc>
                <a:spcPct val="130000"/>
              </a:lnSpc>
            </a:pPr>
            <a:r>
              <a:rPr lang="en-US" altLang="zh-CN" sz="10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0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39" name="文本框 38"/>
          <p:cNvSpPr txBox="1"/>
          <p:nvPr/>
        </p:nvSpPr>
        <p:spPr>
          <a:xfrm>
            <a:off x="622222" y="3143083"/>
            <a:ext cx="1614361" cy="47628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zh-CN" sz="1000" dirty="0">
                <a:solidFill>
                  <a:schemeClr val="tx2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0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1677589" y="1518753"/>
            <a:ext cx="5846496" cy="55310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>
              <a:lnSpc>
                <a:spcPct val="13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text content, such as keywords, some brief introductions, etc.</a:t>
            </a:r>
          </a:p>
          <a:p>
            <a:pPr algn="ctr">
              <a:lnSpc>
                <a:spcPct val="130000"/>
              </a:lnSpc>
            </a:pPr>
            <a:r>
              <a:rPr lang="en-US" altLang="zh-CN" sz="1200" dirty="0">
                <a:solidFill>
                  <a:schemeClr val="tx2"/>
                </a:solidFill>
                <a:cs typeface="+mn-ea"/>
                <a:sym typeface="+mn-lt"/>
              </a:rPr>
              <a:t>Click here to add text content, such as keywords, some brief introductions, etc.</a:t>
            </a:r>
            <a:endParaRPr lang="zh-CN" altLang="en-US" sz="1200" dirty="0">
              <a:solidFill>
                <a:schemeClr val="tx2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400" tmFilter="0,0; .5, 1; 1, 1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8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3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1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3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4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3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7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3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3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3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3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6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3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9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3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32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3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500"/>
                            </p:stCondLst>
                            <p:childTnLst>
                              <p:par>
                                <p:cTn id="4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3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38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3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4100"/>
                            </p:stCondLst>
                            <p:childTnLst>
                              <p:par>
                                <p:cTn id="5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3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4400"/>
                            </p:stCondLst>
                            <p:childTnLst>
                              <p:par>
                                <p:cTn id="6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3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6" grpId="0" bldLvl="0" animBg="1"/>
      <p:bldP spid="17" grpId="0" bldLvl="0" animBg="1"/>
      <p:bldP spid="18" grpId="0" bldLvl="0" animBg="1"/>
      <p:bldP spid="19" grpId="0" bldLvl="0" animBg="1"/>
      <p:bldP spid="20" grpId="0" bldLvl="0" animBg="1"/>
      <p:bldP spid="21" grpId="0" bldLvl="0" animBg="1"/>
      <p:bldP spid="22" grpId="0" bldLvl="0" animBg="1"/>
      <p:bldP spid="39" grpId="0" bldLvl="0" animBg="1"/>
      <p:bldP spid="23" grpId="0" bldLvl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31"/>
          <p:cNvSpPr txBox="1"/>
          <p:nvPr/>
        </p:nvSpPr>
        <p:spPr>
          <a:xfrm>
            <a:off x="1656168" y="154254"/>
            <a:ext cx="5831663" cy="584775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>
            <a:defPPr>
              <a:defRPr lang="zh-CN"/>
            </a:defPPr>
            <a:lvl1pPr lvl="0">
              <a:defRPr sz="3600" b="1">
                <a:solidFill>
                  <a:schemeClr val="accent2"/>
                </a:solidFill>
                <a:cs typeface="+mn-ea"/>
              </a:defRPr>
            </a:lvl1pPr>
          </a:lstStyle>
          <a:p>
            <a:pPr algn="ctr"/>
            <a:r>
              <a:rPr lang="en-US" altLang="zh-CN" sz="3200" dirty="0">
                <a:sym typeface="+mn-lt"/>
              </a:rPr>
              <a:t>Classroom Implementation</a:t>
            </a:r>
            <a:endParaRPr lang="zh-CN" altLang="en-US" sz="3200" dirty="0">
              <a:sym typeface="+mn-lt"/>
            </a:endParaRPr>
          </a:p>
        </p:txBody>
      </p:sp>
      <p:cxnSp>
        <p:nvCxnSpPr>
          <p:cNvPr id="70" name="直接连接符 69"/>
          <p:cNvCxnSpPr/>
          <p:nvPr/>
        </p:nvCxnSpPr>
        <p:spPr>
          <a:xfrm>
            <a:off x="136525" y="2837180"/>
            <a:ext cx="8874125" cy="14605"/>
          </a:xfrm>
          <a:prstGeom prst="line">
            <a:avLst/>
          </a:prstGeom>
          <a:noFill/>
          <a:ln w="57150" cap="flat" cmpd="sng" algn="ctr">
            <a:solidFill>
              <a:srgbClr val="E8D2A2"/>
            </a:solidFill>
            <a:prstDash val="solid"/>
          </a:ln>
          <a:effectLst/>
        </p:spPr>
      </p:cxnSp>
      <p:sp>
        <p:nvSpPr>
          <p:cNvPr id="71" name="TextBox 21"/>
          <p:cNvSpPr txBox="1"/>
          <p:nvPr/>
        </p:nvSpPr>
        <p:spPr bwMode="auto">
          <a:xfrm>
            <a:off x="601537" y="3154303"/>
            <a:ext cx="1947877" cy="614861"/>
          </a:xfrm>
          <a:prstGeom prst="rect">
            <a:avLst/>
          </a:prstGeom>
          <a:noFill/>
        </p:spPr>
        <p:txBody>
          <a:bodyPr wrap="square" lIns="88597" tIns="44298" rIns="88597" bIns="44298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rgbClr val="7F7F7F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rgbClr val="7F7F7F"/>
              </a:solidFill>
              <a:cs typeface="+mn-ea"/>
              <a:sym typeface="+mn-lt"/>
            </a:endParaRPr>
          </a:p>
        </p:txBody>
      </p:sp>
      <p:sp>
        <p:nvSpPr>
          <p:cNvPr id="72" name="TextBox 23"/>
          <p:cNvSpPr txBox="1"/>
          <p:nvPr/>
        </p:nvSpPr>
        <p:spPr bwMode="auto">
          <a:xfrm>
            <a:off x="3051934" y="1699971"/>
            <a:ext cx="1947877" cy="614861"/>
          </a:xfrm>
          <a:prstGeom prst="rect">
            <a:avLst/>
          </a:prstGeom>
          <a:noFill/>
        </p:spPr>
        <p:txBody>
          <a:bodyPr wrap="square" lIns="88597" tIns="44298" rIns="88597" bIns="44298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rgbClr val="7F7F7F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rgbClr val="7F7F7F"/>
              </a:solidFill>
              <a:cs typeface="+mn-ea"/>
              <a:sym typeface="+mn-lt"/>
            </a:endParaRPr>
          </a:p>
        </p:txBody>
      </p:sp>
      <p:sp>
        <p:nvSpPr>
          <p:cNvPr id="73" name="TextBox 24"/>
          <p:cNvSpPr txBox="1"/>
          <p:nvPr/>
        </p:nvSpPr>
        <p:spPr bwMode="auto">
          <a:xfrm>
            <a:off x="5197706" y="3154302"/>
            <a:ext cx="1947877" cy="614861"/>
          </a:xfrm>
          <a:prstGeom prst="rect">
            <a:avLst/>
          </a:prstGeom>
          <a:noFill/>
        </p:spPr>
        <p:txBody>
          <a:bodyPr wrap="square" lIns="88597" tIns="44298" rIns="88597" bIns="44298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rgbClr val="7F7F7F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rgbClr val="7F7F7F"/>
              </a:solidFill>
              <a:cs typeface="+mn-ea"/>
              <a:sym typeface="+mn-lt"/>
            </a:endParaRPr>
          </a:p>
        </p:txBody>
      </p:sp>
      <p:sp>
        <p:nvSpPr>
          <p:cNvPr id="75" name="椭圆 74"/>
          <p:cNvSpPr/>
          <p:nvPr/>
        </p:nvSpPr>
        <p:spPr>
          <a:xfrm>
            <a:off x="1393386" y="2713086"/>
            <a:ext cx="321806" cy="289716"/>
          </a:xfrm>
          <a:prstGeom prst="ellipse">
            <a:avLst/>
          </a:prstGeom>
          <a:solidFill>
            <a:srgbClr val="ADACC8"/>
          </a:solidFill>
          <a:ln w="25400" cap="flat" cmpd="sng" algn="ctr">
            <a:noFill/>
            <a:prstDash val="solid"/>
          </a:ln>
          <a:effectLst/>
        </p:spPr>
        <p:txBody>
          <a:bodyPr lIns="88597" tIns="44298" rIns="88597" bIns="44298" rtlCol="0" anchor="ctr"/>
          <a:lstStyle/>
          <a:p>
            <a:pPr algn="ctr"/>
            <a:endParaRPr lang="zh-CN" altLang="en-US" sz="180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76" name="矩形标注 75"/>
          <p:cNvSpPr/>
          <p:nvPr/>
        </p:nvSpPr>
        <p:spPr>
          <a:xfrm>
            <a:off x="1143926" y="1935402"/>
            <a:ext cx="1367730" cy="388843"/>
          </a:xfrm>
          <a:prstGeom prst="wedgeRectCallout">
            <a:avLst>
              <a:gd name="adj1" fmla="val -20833"/>
              <a:gd name="adj2" fmla="val 92735"/>
            </a:avLst>
          </a:prstGeom>
          <a:solidFill>
            <a:srgbClr val="ADACC8"/>
          </a:solidFill>
          <a:ln w="25400" cap="flat" cmpd="sng" algn="ctr">
            <a:noFill/>
            <a:prstDash val="solid"/>
          </a:ln>
          <a:effectLst/>
        </p:spPr>
        <p:txBody>
          <a:bodyPr lIns="88597" tIns="44298" rIns="88597" bIns="44298" rtlCol="0" anchor="ctr"/>
          <a:lstStyle/>
          <a:p>
            <a:pPr algn="ctr"/>
            <a:endParaRPr lang="zh-CN" altLang="en-US" sz="180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77" name="矩形 76"/>
          <p:cNvSpPr/>
          <p:nvPr/>
        </p:nvSpPr>
        <p:spPr bwMode="auto">
          <a:xfrm>
            <a:off x="1295434" y="1924294"/>
            <a:ext cx="1151255" cy="364490"/>
          </a:xfrm>
          <a:prstGeom prst="rect">
            <a:avLst/>
          </a:prstGeom>
        </p:spPr>
        <p:txBody>
          <a:bodyPr wrap="square" lIns="88597" tIns="44298" rIns="88597" bIns="44298">
            <a:spAutoFit/>
          </a:bodyPr>
          <a:lstStyle/>
          <a:p>
            <a:pPr>
              <a:defRPr/>
            </a:pPr>
            <a:r>
              <a:rPr lang="en-US" altLang="zh-CN" sz="1800" b="1" dirty="0" err="1">
                <a:solidFill>
                  <a:prstClr val="white"/>
                </a:solidFill>
                <a:cs typeface="+mn-ea"/>
                <a:sym typeface="+mn-lt"/>
              </a:rPr>
              <a:t>Steap</a:t>
            </a:r>
            <a:r>
              <a:rPr lang="en-US" altLang="zh-CN" sz="1800" b="1" dirty="0">
                <a:solidFill>
                  <a:prstClr val="white"/>
                </a:solidFill>
                <a:cs typeface="+mn-ea"/>
                <a:sym typeface="+mn-lt"/>
              </a:rPr>
              <a:t> 1</a:t>
            </a:r>
            <a:endParaRPr lang="zh-CN" sz="1800" b="1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78" name="椭圆 77"/>
          <p:cNvSpPr/>
          <p:nvPr/>
        </p:nvSpPr>
        <p:spPr>
          <a:xfrm>
            <a:off x="3591833" y="2684511"/>
            <a:ext cx="321806" cy="289716"/>
          </a:xfrm>
          <a:prstGeom prst="ellipse">
            <a:avLst/>
          </a:prstGeom>
          <a:solidFill>
            <a:srgbClr val="ADACC8"/>
          </a:solidFill>
          <a:ln w="25400" cap="flat" cmpd="sng" algn="ctr">
            <a:noFill/>
            <a:prstDash val="solid"/>
          </a:ln>
          <a:effectLst/>
        </p:spPr>
        <p:txBody>
          <a:bodyPr lIns="88597" tIns="44298" rIns="88597" bIns="44298" rtlCol="0" anchor="ctr"/>
          <a:lstStyle/>
          <a:p>
            <a:pPr algn="ctr"/>
            <a:endParaRPr lang="zh-CN" altLang="en-US" sz="180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79" name="矩形标注 78"/>
          <p:cNvSpPr/>
          <p:nvPr/>
        </p:nvSpPr>
        <p:spPr>
          <a:xfrm flipV="1">
            <a:off x="3342008" y="3332583"/>
            <a:ext cx="1367730" cy="388843"/>
          </a:xfrm>
          <a:prstGeom prst="wedgeRectCallout">
            <a:avLst>
              <a:gd name="adj1" fmla="val -20833"/>
              <a:gd name="adj2" fmla="val 92735"/>
            </a:avLst>
          </a:prstGeom>
          <a:solidFill>
            <a:srgbClr val="ADACC8"/>
          </a:solidFill>
          <a:ln w="25400" cap="flat" cmpd="sng" algn="ctr">
            <a:noFill/>
            <a:prstDash val="solid"/>
          </a:ln>
          <a:effectLst/>
        </p:spPr>
        <p:txBody>
          <a:bodyPr lIns="88597" tIns="44298" rIns="88597" bIns="44298" rtlCol="0" anchor="ctr"/>
          <a:lstStyle/>
          <a:p>
            <a:pPr algn="ctr"/>
            <a:endParaRPr lang="zh-CN" altLang="en-US" sz="180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80" name="矩形 79"/>
          <p:cNvSpPr/>
          <p:nvPr/>
        </p:nvSpPr>
        <p:spPr bwMode="auto">
          <a:xfrm>
            <a:off x="3639185" y="3374390"/>
            <a:ext cx="1003935" cy="364490"/>
          </a:xfrm>
          <a:prstGeom prst="rect">
            <a:avLst/>
          </a:prstGeom>
        </p:spPr>
        <p:txBody>
          <a:bodyPr wrap="square" lIns="88597" tIns="44298" rIns="88597" bIns="44298">
            <a:spAutoFit/>
          </a:bodyPr>
          <a:lstStyle/>
          <a:p>
            <a:pPr>
              <a:defRPr/>
            </a:pPr>
            <a:r>
              <a:rPr lang="en-US" altLang="zh-CN" sz="1800" b="1" dirty="0" err="1">
                <a:solidFill>
                  <a:prstClr val="white"/>
                </a:solidFill>
                <a:cs typeface="+mn-ea"/>
                <a:sym typeface="+mn-lt"/>
              </a:rPr>
              <a:t>Steap</a:t>
            </a:r>
            <a:r>
              <a:rPr lang="en-US" altLang="zh-CN" sz="1800" b="1" dirty="0">
                <a:solidFill>
                  <a:prstClr val="white"/>
                </a:solidFill>
                <a:cs typeface="+mn-ea"/>
                <a:sym typeface="+mn-lt"/>
              </a:rPr>
              <a:t> 2</a:t>
            </a:r>
          </a:p>
        </p:txBody>
      </p:sp>
      <p:sp>
        <p:nvSpPr>
          <p:cNvPr id="81" name="椭圆 80"/>
          <p:cNvSpPr/>
          <p:nvPr/>
        </p:nvSpPr>
        <p:spPr>
          <a:xfrm>
            <a:off x="5580993" y="2713086"/>
            <a:ext cx="321806" cy="289716"/>
          </a:xfrm>
          <a:prstGeom prst="ellipse">
            <a:avLst/>
          </a:prstGeom>
          <a:solidFill>
            <a:srgbClr val="ADACC8"/>
          </a:solidFill>
          <a:ln w="25400" cap="flat" cmpd="sng" algn="ctr">
            <a:noFill/>
            <a:prstDash val="solid"/>
          </a:ln>
          <a:effectLst/>
        </p:spPr>
        <p:txBody>
          <a:bodyPr lIns="88597" tIns="44298" rIns="88597" bIns="44298" rtlCol="0" anchor="ctr"/>
          <a:lstStyle/>
          <a:p>
            <a:pPr algn="ctr"/>
            <a:endParaRPr lang="zh-CN" altLang="en-US" sz="180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82" name="矩形标注 81"/>
          <p:cNvSpPr/>
          <p:nvPr/>
        </p:nvSpPr>
        <p:spPr>
          <a:xfrm>
            <a:off x="5331166" y="1935402"/>
            <a:ext cx="1367730" cy="388843"/>
          </a:xfrm>
          <a:prstGeom prst="wedgeRectCallout">
            <a:avLst>
              <a:gd name="adj1" fmla="val -20833"/>
              <a:gd name="adj2" fmla="val 92735"/>
            </a:avLst>
          </a:prstGeom>
          <a:solidFill>
            <a:srgbClr val="ADACC8"/>
          </a:solidFill>
          <a:ln w="25400" cap="flat" cmpd="sng" algn="ctr">
            <a:noFill/>
            <a:prstDash val="solid"/>
          </a:ln>
          <a:effectLst/>
        </p:spPr>
        <p:txBody>
          <a:bodyPr lIns="88597" tIns="44298" rIns="88597" bIns="44298" rtlCol="0" anchor="ctr"/>
          <a:lstStyle/>
          <a:p>
            <a:pPr algn="ctr"/>
            <a:endParaRPr lang="zh-CN" altLang="en-US" sz="180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83" name="矩形 82"/>
          <p:cNvSpPr/>
          <p:nvPr/>
        </p:nvSpPr>
        <p:spPr bwMode="auto">
          <a:xfrm>
            <a:off x="5623560" y="1977390"/>
            <a:ext cx="1018540" cy="364490"/>
          </a:xfrm>
          <a:prstGeom prst="rect">
            <a:avLst/>
          </a:prstGeom>
        </p:spPr>
        <p:txBody>
          <a:bodyPr wrap="square" lIns="88597" tIns="44298" rIns="88597" bIns="44298">
            <a:spAutoFit/>
          </a:bodyPr>
          <a:lstStyle/>
          <a:p>
            <a:pPr>
              <a:defRPr/>
            </a:pPr>
            <a:r>
              <a:rPr lang="en-US" altLang="zh-CN" sz="1800" b="1" dirty="0" err="1">
                <a:solidFill>
                  <a:prstClr val="white"/>
                </a:solidFill>
                <a:cs typeface="+mn-ea"/>
                <a:sym typeface="+mn-lt"/>
              </a:rPr>
              <a:t>Steap</a:t>
            </a:r>
            <a:r>
              <a:rPr lang="en-US" altLang="zh-CN" sz="1800" b="1" dirty="0">
                <a:solidFill>
                  <a:prstClr val="white"/>
                </a:solidFill>
                <a:cs typeface="+mn-ea"/>
                <a:sym typeface="+mn-lt"/>
              </a:rPr>
              <a:t> 3</a:t>
            </a:r>
          </a:p>
        </p:txBody>
      </p:sp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400" tmFilter="0,0; .5, 1; 1, 1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280"/>
                            </p:stCondLst>
                            <p:childTnLst>
                              <p:par>
                                <p:cTn id="13" presetID="16" presetClass="entr" presetSubtype="37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5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780"/>
                            </p:stCondLst>
                            <p:childTnLst>
                              <p:par>
                                <p:cTn id="17" presetID="1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780"/>
                            </p:stCondLst>
                            <p:childTnLst>
                              <p:par>
                                <p:cTn id="3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280"/>
                            </p:stCondLst>
                            <p:childTnLst>
                              <p:par>
                                <p:cTn id="49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4280"/>
                            </p:stCondLst>
                            <p:childTnLst>
                              <p:par>
                                <p:cTn id="6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7" dur="2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0" dur="2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3" dur="20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71" grpId="0"/>
      <p:bldP spid="72" grpId="0"/>
      <p:bldP spid="73" grpId="0"/>
      <p:bldP spid="75" grpId="0" bldLvl="0" animBg="1"/>
      <p:bldP spid="76" grpId="0" bldLvl="0" animBg="1"/>
      <p:bldP spid="77" grpId="0"/>
      <p:bldP spid="78" grpId="0" bldLvl="0" animBg="1"/>
      <p:bldP spid="79" grpId="0" bldLvl="0" animBg="1"/>
      <p:bldP spid="80" grpId="0"/>
      <p:bldP spid="81" grpId="0" bldLvl="0" animBg="1"/>
      <p:bldP spid="82" grpId="0" bldLvl="0" animBg="1"/>
      <p:bldP spid="8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31"/>
          <p:cNvSpPr txBox="1"/>
          <p:nvPr/>
        </p:nvSpPr>
        <p:spPr>
          <a:xfrm>
            <a:off x="1967706" y="189210"/>
            <a:ext cx="5208588" cy="5847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defPPr>
              <a:defRPr lang="zh-CN"/>
            </a:defPPr>
            <a:lvl1pPr lvl="0">
              <a:defRPr sz="3600" b="1">
                <a:solidFill>
                  <a:schemeClr val="accent2"/>
                </a:solidFill>
                <a:cs typeface="+mn-ea"/>
              </a:defRPr>
            </a:lvl1pPr>
          </a:lstStyle>
          <a:p>
            <a:pPr algn="ctr"/>
            <a:r>
              <a:rPr lang="en-US" altLang="zh-CN" sz="3200" dirty="0">
                <a:sym typeface="+mn-lt"/>
              </a:rPr>
              <a:t>After-school Improvement</a:t>
            </a:r>
            <a:endParaRPr lang="zh-CN" altLang="en-US" dirty="0">
              <a:sym typeface="+mn-lt"/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514985" y="1518852"/>
            <a:ext cx="6801856" cy="2828036"/>
            <a:chOff x="57" y="2292"/>
            <a:chExt cx="18317" cy="7614"/>
          </a:xfrm>
        </p:grpSpPr>
        <p:grpSp>
          <p:nvGrpSpPr>
            <p:cNvPr id="3" name="562bcd6d-4bd7-483c-abca-a75e8e7e9b17"/>
            <p:cNvGrpSpPr>
              <a:grpSpLocks noChangeAspect="1"/>
            </p:cNvGrpSpPr>
            <p:nvPr/>
          </p:nvGrpSpPr>
          <p:grpSpPr>
            <a:xfrm>
              <a:off x="4368" y="2627"/>
              <a:ext cx="9657" cy="6153"/>
              <a:chOff x="3104456" y="1777253"/>
              <a:chExt cx="5160767" cy="3288310"/>
            </a:xfrm>
          </p:grpSpPr>
          <p:sp>
            <p:nvSpPr>
              <p:cNvPr id="4" name="任意多边形: 形状 3"/>
              <p:cNvSpPr/>
              <p:nvPr/>
            </p:nvSpPr>
            <p:spPr>
              <a:xfrm>
                <a:off x="4511251" y="1777253"/>
                <a:ext cx="3180876" cy="2674452"/>
              </a:xfrm>
              <a:custGeom>
                <a:avLst/>
                <a:gdLst/>
                <a:ahLst/>
                <a:cxnLst/>
                <a:rect l="l" t="t" r="r" b="b"/>
                <a:pathLst>
                  <a:path w="209624" h="176250">
                    <a:moveTo>
                      <a:pt x="166650" y="100124"/>
                    </a:moveTo>
                    <a:cubicBezTo>
                      <a:pt x="157348" y="100124"/>
                      <a:pt x="149460" y="103380"/>
                      <a:pt x="142986" y="109891"/>
                    </a:cubicBezTo>
                    <a:cubicBezTo>
                      <a:pt x="136512" y="116403"/>
                      <a:pt x="133275" y="124272"/>
                      <a:pt x="133275" y="133499"/>
                    </a:cubicBezTo>
                    <a:cubicBezTo>
                      <a:pt x="133275" y="142652"/>
                      <a:pt x="136531" y="150466"/>
                      <a:pt x="143042" y="156940"/>
                    </a:cubicBezTo>
                    <a:cubicBezTo>
                      <a:pt x="149553" y="163414"/>
                      <a:pt x="157423" y="166651"/>
                      <a:pt x="166650" y="166651"/>
                    </a:cubicBezTo>
                    <a:cubicBezTo>
                      <a:pt x="175803" y="166651"/>
                      <a:pt x="183654" y="163414"/>
                      <a:pt x="190202" y="156940"/>
                    </a:cubicBezTo>
                    <a:cubicBezTo>
                      <a:pt x="196750" y="150466"/>
                      <a:pt x="200025" y="142652"/>
                      <a:pt x="200025" y="133499"/>
                    </a:cubicBezTo>
                    <a:cubicBezTo>
                      <a:pt x="200025" y="124272"/>
                      <a:pt x="196750" y="116403"/>
                      <a:pt x="190202" y="109891"/>
                    </a:cubicBezTo>
                    <a:cubicBezTo>
                      <a:pt x="183654" y="103380"/>
                      <a:pt x="175803" y="100124"/>
                      <a:pt x="166650" y="100124"/>
                    </a:cubicBezTo>
                    <a:close/>
                    <a:moveTo>
                      <a:pt x="42918" y="100124"/>
                    </a:moveTo>
                    <a:cubicBezTo>
                      <a:pt x="33780" y="100124"/>
                      <a:pt x="25943" y="103380"/>
                      <a:pt x="19405" y="109891"/>
                    </a:cubicBezTo>
                    <a:cubicBezTo>
                      <a:pt x="12868" y="116403"/>
                      <a:pt x="9599" y="124272"/>
                      <a:pt x="9599" y="133499"/>
                    </a:cubicBezTo>
                    <a:cubicBezTo>
                      <a:pt x="9599" y="142652"/>
                      <a:pt x="12868" y="150466"/>
                      <a:pt x="19405" y="156940"/>
                    </a:cubicBezTo>
                    <a:cubicBezTo>
                      <a:pt x="25943" y="163414"/>
                      <a:pt x="33780" y="166651"/>
                      <a:pt x="42918" y="166651"/>
                    </a:cubicBezTo>
                    <a:cubicBezTo>
                      <a:pt x="52130" y="166651"/>
                      <a:pt x="59986" y="163414"/>
                      <a:pt x="66487" y="156940"/>
                    </a:cubicBezTo>
                    <a:cubicBezTo>
                      <a:pt x="72987" y="150466"/>
                      <a:pt x="76237" y="142652"/>
                      <a:pt x="76237" y="133499"/>
                    </a:cubicBezTo>
                    <a:cubicBezTo>
                      <a:pt x="76237" y="124272"/>
                      <a:pt x="73005" y="116403"/>
                      <a:pt x="66542" y="109891"/>
                    </a:cubicBezTo>
                    <a:cubicBezTo>
                      <a:pt x="60079" y="103380"/>
                      <a:pt x="52205" y="100124"/>
                      <a:pt x="42918" y="100124"/>
                    </a:cubicBezTo>
                    <a:close/>
                    <a:moveTo>
                      <a:pt x="166650" y="90525"/>
                    </a:moveTo>
                    <a:cubicBezTo>
                      <a:pt x="178469" y="90525"/>
                      <a:pt x="188586" y="94711"/>
                      <a:pt x="197001" y="103082"/>
                    </a:cubicBezTo>
                    <a:cubicBezTo>
                      <a:pt x="205416" y="111454"/>
                      <a:pt x="209624" y="121593"/>
                      <a:pt x="209624" y="133499"/>
                    </a:cubicBezTo>
                    <a:cubicBezTo>
                      <a:pt x="209624" y="145257"/>
                      <a:pt x="205416" y="155321"/>
                      <a:pt x="197001" y="163693"/>
                    </a:cubicBezTo>
                    <a:cubicBezTo>
                      <a:pt x="188586" y="172064"/>
                      <a:pt x="178469" y="176250"/>
                      <a:pt x="166650" y="176250"/>
                    </a:cubicBezTo>
                    <a:cubicBezTo>
                      <a:pt x="154744" y="176250"/>
                      <a:pt x="144605" y="172064"/>
                      <a:pt x="136233" y="163693"/>
                    </a:cubicBezTo>
                    <a:cubicBezTo>
                      <a:pt x="127862" y="155321"/>
                      <a:pt x="123676" y="145257"/>
                      <a:pt x="123676" y="133499"/>
                    </a:cubicBezTo>
                    <a:cubicBezTo>
                      <a:pt x="123676" y="121593"/>
                      <a:pt x="127862" y="111454"/>
                      <a:pt x="136233" y="103082"/>
                    </a:cubicBezTo>
                    <a:cubicBezTo>
                      <a:pt x="144605" y="94711"/>
                      <a:pt x="154744" y="90525"/>
                      <a:pt x="166650" y="90525"/>
                    </a:cubicBezTo>
                    <a:close/>
                    <a:moveTo>
                      <a:pt x="42918" y="90525"/>
                    </a:moveTo>
                    <a:cubicBezTo>
                      <a:pt x="54809" y="90525"/>
                      <a:pt x="64935" y="94711"/>
                      <a:pt x="73295" y="103082"/>
                    </a:cubicBezTo>
                    <a:cubicBezTo>
                      <a:pt x="81656" y="111454"/>
                      <a:pt x="85836" y="121593"/>
                      <a:pt x="85836" y="133499"/>
                    </a:cubicBezTo>
                    <a:cubicBezTo>
                      <a:pt x="85836" y="145257"/>
                      <a:pt x="81656" y="155321"/>
                      <a:pt x="73295" y="163693"/>
                    </a:cubicBezTo>
                    <a:cubicBezTo>
                      <a:pt x="64935" y="172064"/>
                      <a:pt x="54809" y="176250"/>
                      <a:pt x="42918" y="176250"/>
                    </a:cubicBezTo>
                    <a:cubicBezTo>
                      <a:pt x="31114" y="176250"/>
                      <a:pt x="21010" y="172064"/>
                      <a:pt x="12606" y="163693"/>
                    </a:cubicBezTo>
                    <a:cubicBezTo>
                      <a:pt x="4202" y="155321"/>
                      <a:pt x="0" y="145257"/>
                      <a:pt x="0" y="133499"/>
                    </a:cubicBezTo>
                    <a:cubicBezTo>
                      <a:pt x="0" y="121593"/>
                      <a:pt x="4202" y="111454"/>
                      <a:pt x="12606" y="103082"/>
                    </a:cubicBezTo>
                    <a:cubicBezTo>
                      <a:pt x="21010" y="94711"/>
                      <a:pt x="31114" y="90525"/>
                      <a:pt x="42918" y="90525"/>
                    </a:cubicBezTo>
                    <a:close/>
                    <a:moveTo>
                      <a:pt x="102133" y="19646"/>
                    </a:moveTo>
                    <a:cubicBezTo>
                      <a:pt x="104311" y="19646"/>
                      <a:pt x="105925" y="20278"/>
                      <a:pt x="106976" y="21543"/>
                    </a:cubicBezTo>
                    <a:cubicBezTo>
                      <a:pt x="108103" y="23180"/>
                      <a:pt x="110581" y="27124"/>
                      <a:pt x="114411" y="33375"/>
                    </a:cubicBezTo>
                    <a:lnTo>
                      <a:pt x="127590" y="54695"/>
                    </a:lnTo>
                    <a:lnTo>
                      <a:pt x="152303" y="54695"/>
                    </a:lnTo>
                    <a:cubicBezTo>
                      <a:pt x="154372" y="54695"/>
                      <a:pt x="156108" y="55383"/>
                      <a:pt x="157512" y="56760"/>
                    </a:cubicBezTo>
                    <a:cubicBezTo>
                      <a:pt x="158916" y="58136"/>
                      <a:pt x="159618" y="59866"/>
                      <a:pt x="159618" y="61950"/>
                    </a:cubicBezTo>
                    <a:cubicBezTo>
                      <a:pt x="159618" y="64034"/>
                      <a:pt x="158911" y="65782"/>
                      <a:pt x="157497" y="67196"/>
                    </a:cubicBezTo>
                    <a:cubicBezTo>
                      <a:pt x="156083" y="68610"/>
                      <a:pt x="154334" y="69317"/>
                      <a:pt x="152251" y="69317"/>
                    </a:cubicBezTo>
                    <a:lnTo>
                      <a:pt x="124346" y="69317"/>
                    </a:lnTo>
                    <a:cubicBezTo>
                      <a:pt x="121295" y="69317"/>
                      <a:pt x="119174" y="68387"/>
                      <a:pt x="117983" y="66527"/>
                    </a:cubicBezTo>
                    <a:lnTo>
                      <a:pt x="104700" y="53020"/>
                    </a:lnTo>
                    <a:lnTo>
                      <a:pt x="89476" y="68312"/>
                    </a:lnTo>
                    <a:lnTo>
                      <a:pt x="113026" y="81149"/>
                    </a:lnTo>
                    <a:cubicBezTo>
                      <a:pt x="117268" y="83605"/>
                      <a:pt x="119389" y="86507"/>
                      <a:pt x="119389" y="89855"/>
                    </a:cubicBezTo>
                    <a:cubicBezTo>
                      <a:pt x="119389" y="90376"/>
                      <a:pt x="119313" y="90990"/>
                      <a:pt x="119161" y="91697"/>
                    </a:cubicBezTo>
                    <a:cubicBezTo>
                      <a:pt x="119010" y="92404"/>
                      <a:pt x="118934" y="92795"/>
                      <a:pt x="118934" y="92869"/>
                    </a:cubicBezTo>
                    <a:lnTo>
                      <a:pt x="114300" y="138076"/>
                    </a:lnTo>
                    <a:cubicBezTo>
                      <a:pt x="114300" y="140680"/>
                      <a:pt x="113351" y="142931"/>
                      <a:pt x="111453" y="144829"/>
                    </a:cubicBezTo>
                    <a:cubicBezTo>
                      <a:pt x="109556" y="146726"/>
                      <a:pt x="107305" y="147675"/>
                      <a:pt x="104700" y="147675"/>
                    </a:cubicBezTo>
                    <a:cubicBezTo>
                      <a:pt x="102096" y="147675"/>
                      <a:pt x="99845" y="146726"/>
                      <a:pt x="97947" y="144829"/>
                    </a:cubicBezTo>
                    <a:cubicBezTo>
                      <a:pt x="96050" y="142931"/>
                      <a:pt x="95101" y="140680"/>
                      <a:pt x="95101" y="138076"/>
                    </a:cubicBezTo>
                    <a:lnTo>
                      <a:pt x="99901" y="97669"/>
                    </a:lnTo>
                    <a:lnTo>
                      <a:pt x="65633" y="82935"/>
                    </a:lnTo>
                    <a:cubicBezTo>
                      <a:pt x="62805" y="81670"/>
                      <a:pt x="60610" y="79884"/>
                      <a:pt x="59047" y="77577"/>
                    </a:cubicBezTo>
                    <a:cubicBezTo>
                      <a:pt x="57485" y="75270"/>
                      <a:pt x="56703" y="72740"/>
                      <a:pt x="56703" y="69987"/>
                    </a:cubicBezTo>
                    <a:cubicBezTo>
                      <a:pt x="56703" y="64927"/>
                      <a:pt x="58824" y="60276"/>
                      <a:pt x="63066" y="56034"/>
                    </a:cubicBezTo>
                    <a:lnTo>
                      <a:pt x="97668" y="21543"/>
                    </a:lnTo>
                    <a:cubicBezTo>
                      <a:pt x="98933" y="20278"/>
                      <a:pt x="100421" y="19646"/>
                      <a:pt x="102133" y="19646"/>
                    </a:cubicBezTo>
                    <a:close/>
                    <a:moveTo>
                      <a:pt x="132606" y="0"/>
                    </a:moveTo>
                    <a:cubicBezTo>
                      <a:pt x="137255" y="0"/>
                      <a:pt x="141227" y="1582"/>
                      <a:pt x="144520" y="4744"/>
                    </a:cubicBezTo>
                    <a:cubicBezTo>
                      <a:pt x="147814" y="7907"/>
                      <a:pt x="149460" y="11721"/>
                      <a:pt x="149460" y="16185"/>
                    </a:cubicBezTo>
                    <a:cubicBezTo>
                      <a:pt x="149460" y="20650"/>
                      <a:pt x="147814" y="24483"/>
                      <a:pt x="144520" y="27682"/>
                    </a:cubicBezTo>
                    <a:cubicBezTo>
                      <a:pt x="141227" y="30882"/>
                      <a:pt x="137255" y="32482"/>
                      <a:pt x="132606" y="32482"/>
                    </a:cubicBezTo>
                    <a:cubicBezTo>
                      <a:pt x="128066" y="32482"/>
                      <a:pt x="124178" y="30882"/>
                      <a:pt x="120941" y="27682"/>
                    </a:cubicBezTo>
                    <a:cubicBezTo>
                      <a:pt x="117704" y="24483"/>
                      <a:pt x="116086" y="20650"/>
                      <a:pt x="116086" y="16185"/>
                    </a:cubicBezTo>
                    <a:cubicBezTo>
                      <a:pt x="116086" y="11721"/>
                      <a:pt x="117704" y="7907"/>
                      <a:pt x="120941" y="4744"/>
                    </a:cubicBezTo>
                    <a:cubicBezTo>
                      <a:pt x="124178" y="1582"/>
                      <a:pt x="128066" y="0"/>
                      <a:pt x="132606" y="0"/>
                    </a:cubicBezTo>
                    <a:close/>
                  </a:path>
                </a:pathLst>
              </a:custGeom>
              <a:solidFill>
                <a:srgbClr val="9D6BAB"/>
              </a:solidFill>
              <a:ln>
                <a:noFill/>
              </a:ln>
              <a:effectLst/>
            </p:spPr>
            <p:txBody>
              <a:bodyPr anchor="ctr"/>
              <a:lstStyle/>
              <a:p>
                <a:pPr algn="ctr"/>
                <a:endParaRPr sz="3200">
                  <a:cs typeface="+mn-ea"/>
                  <a:sym typeface="+mn-lt"/>
                </a:endParaRPr>
              </a:p>
            </p:txBody>
          </p:sp>
          <p:sp>
            <p:nvSpPr>
              <p:cNvPr id="5" name="弧形 4"/>
              <p:cNvSpPr/>
              <p:nvPr/>
            </p:nvSpPr>
            <p:spPr>
              <a:xfrm>
                <a:off x="6594516" y="3364969"/>
                <a:ext cx="870994" cy="870994"/>
              </a:xfrm>
              <a:prstGeom prst="arc">
                <a:avLst>
                  <a:gd name="adj1" fmla="val 16200000"/>
                  <a:gd name="adj2" fmla="val 11884283"/>
                </a:avLst>
              </a:prstGeom>
              <a:noFill/>
              <a:ln w="101600" cap="rnd">
                <a:solidFill>
                  <a:srgbClr val="B1B5E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sz="3200">
                  <a:cs typeface="+mn-ea"/>
                  <a:sym typeface="+mn-lt"/>
                </a:endParaRPr>
              </a:p>
            </p:txBody>
          </p:sp>
          <p:sp>
            <p:nvSpPr>
              <p:cNvPr id="2" name="弧形 1"/>
              <p:cNvSpPr/>
              <p:nvPr/>
            </p:nvSpPr>
            <p:spPr>
              <a:xfrm>
                <a:off x="4721577" y="3364969"/>
                <a:ext cx="870994" cy="870994"/>
              </a:xfrm>
              <a:prstGeom prst="arc">
                <a:avLst>
                  <a:gd name="adj1" fmla="val 16200000"/>
                  <a:gd name="adj2" fmla="val 2102801"/>
                </a:avLst>
              </a:prstGeom>
              <a:noFill/>
              <a:ln w="101600" cap="rnd">
                <a:solidFill>
                  <a:srgbClr val="C8ACE8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 sz="3200">
                  <a:cs typeface="+mn-ea"/>
                  <a:sym typeface="+mn-lt"/>
                </a:endParaRPr>
              </a:p>
            </p:txBody>
          </p:sp>
          <p:cxnSp>
            <p:nvCxnSpPr>
              <p:cNvPr id="9" name="直接连接符 8"/>
              <p:cNvCxnSpPr/>
              <p:nvPr/>
            </p:nvCxnSpPr>
            <p:spPr>
              <a:xfrm>
                <a:off x="6606101" y="1793202"/>
                <a:ext cx="1659122" cy="0"/>
              </a:xfrm>
              <a:prstGeom prst="line">
                <a:avLst/>
              </a:prstGeom>
              <a:ln>
                <a:solidFill>
                  <a:srgbClr val="95A5A6"/>
                </a:solidFill>
                <a:prstDash val="dash"/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直接连接符 9"/>
              <p:cNvCxnSpPr/>
              <p:nvPr/>
            </p:nvCxnSpPr>
            <p:spPr>
              <a:xfrm flipH="1">
                <a:off x="6096000" y="4451705"/>
                <a:ext cx="731931" cy="613858"/>
              </a:xfrm>
              <a:prstGeom prst="line">
                <a:avLst/>
              </a:prstGeom>
              <a:ln>
                <a:solidFill>
                  <a:srgbClr val="95A5A6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直接连接符 10"/>
              <p:cNvCxnSpPr/>
              <p:nvPr/>
            </p:nvCxnSpPr>
            <p:spPr>
              <a:xfrm>
                <a:off x="5160335" y="5049615"/>
                <a:ext cx="935665" cy="0"/>
              </a:xfrm>
              <a:prstGeom prst="line">
                <a:avLst/>
              </a:prstGeom>
              <a:ln>
                <a:solidFill>
                  <a:srgbClr val="95A5A6"/>
                </a:solidFill>
                <a:prstDash val="dash"/>
                <a:head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直接连接符 11"/>
              <p:cNvCxnSpPr/>
              <p:nvPr/>
            </p:nvCxnSpPr>
            <p:spPr>
              <a:xfrm flipH="1" flipV="1">
                <a:off x="4040122" y="3114479"/>
                <a:ext cx="460527" cy="772346"/>
              </a:xfrm>
              <a:prstGeom prst="line">
                <a:avLst/>
              </a:prstGeom>
              <a:ln>
                <a:solidFill>
                  <a:srgbClr val="95A5A6"/>
                </a:solidFill>
                <a:prstDash val="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直接连接符 12"/>
              <p:cNvCxnSpPr/>
              <p:nvPr/>
            </p:nvCxnSpPr>
            <p:spPr>
              <a:xfrm>
                <a:off x="3104456" y="3114479"/>
                <a:ext cx="935665" cy="0"/>
              </a:xfrm>
              <a:prstGeom prst="line">
                <a:avLst/>
              </a:prstGeom>
              <a:ln>
                <a:solidFill>
                  <a:srgbClr val="95A5A6"/>
                </a:solidFill>
                <a:prstDash val="dash"/>
                <a:head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组合 32"/>
            <p:cNvGrpSpPr/>
            <p:nvPr/>
          </p:nvGrpSpPr>
          <p:grpSpPr>
            <a:xfrm>
              <a:off x="14299" y="2292"/>
              <a:ext cx="4075" cy="2557"/>
              <a:chOff x="7227811" y="2377084"/>
              <a:chExt cx="2587546" cy="1623810"/>
            </a:xfrm>
          </p:grpSpPr>
          <p:sp>
            <p:nvSpPr>
              <p:cNvPr id="34" name="矩形 33"/>
              <p:cNvSpPr/>
              <p:nvPr/>
            </p:nvSpPr>
            <p:spPr>
              <a:xfrm>
                <a:off x="7227811" y="2731821"/>
                <a:ext cx="2587546" cy="1269073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+mn-ea"/>
                    <a:sym typeface="+mn-lt"/>
                  </a:rPr>
                  <a:t>Click here to add content, content to match the title. </a:t>
                </a:r>
                <a:endPara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5" name="矩形 34"/>
              <p:cNvSpPr/>
              <p:nvPr/>
            </p:nvSpPr>
            <p:spPr>
              <a:xfrm>
                <a:off x="7227811" y="2377084"/>
                <a:ext cx="2241974" cy="554740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b="1" dirty="0">
                    <a:solidFill>
                      <a:srgbClr val="9D6BAB"/>
                    </a:solidFill>
                    <a:cs typeface="+mn-ea"/>
                    <a:sym typeface="+mn-lt"/>
                  </a:rPr>
                  <a:t>Add title text</a:t>
                </a:r>
                <a:endParaRPr lang="zh-CN" altLang="en-US" b="1" dirty="0">
                  <a:solidFill>
                    <a:srgbClr val="9D6BAB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36" name="组合 35"/>
            <p:cNvGrpSpPr/>
            <p:nvPr/>
          </p:nvGrpSpPr>
          <p:grpSpPr>
            <a:xfrm>
              <a:off x="904" y="7816"/>
              <a:ext cx="7165" cy="2090"/>
              <a:chOff x="5019164" y="2930779"/>
              <a:chExt cx="4549767" cy="1327369"/>
            </a:xfrm>
          </p:grpSpPr>
          <p:sp>
            <p:nvSpPr>
              <p:cNvPr id="37" name="矩形 36"/>
              <p:cNvSpPr/>
              <p:nvPr/>
            </p:nvSpPr>
            <p:spPr>
              <a:xfrm>
                <a:off x="5019164" y="3373735"/>
                <a:ext cx="4549767" cy="884413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algn="r">
                  <a:lnSpc>
                    <a:spcPct val="120000"/>
                  </a:lnSpc>
                </a:pPr>
                <a:r>
                  <a:rPr lang="en-US" altLang="zh-CN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+mn-ea"/>
                    <a:sym typeface="+mn-lt"/>
                  </a:rPr>
                  <a:t>Click here to add content, content to match the title. </a:t>
                </a:r>
                <a:endPara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8" name="矩形 37"/>
              <p:cNvSpPr/>
              <p:nvPr/>
            </p:nvSpPr>
            <p:spPr>
              <a:xfrm>
                <a:off x="7069542" y="2930779"/>
                <a:ext cx="2241973" cy="554886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algn="r">
                  <a:lnSpc>
                    <a:spcPct val="120000"/>
                  </a:lnSpc>
                </a:pPr>
                <a:r>
                  <a:rPr lang="en-US" altLang="zh-CN" b="1" dirty="0">
                    <a:solidFill>
                      <a:srgbClr val="9D6BAB"/>
                    </a:solidFill>
                    <a:cs typeface="+mn-ea"/>
                    <a:sym typeface="+mn-lt"/>
                  </a:rPr>
                  <a:t>Add title text</a:t>
                </a:r>
                <a:endParaRPr lang="zh-CN" altLang="en-US" b="1" dirty="0">
                  <a:solidFill>
                    <a:srgbClr val="9D6BAB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39" name="组合 38"/>
            <p:cNvGrpSpPr/>
            <p:nvPr/>
          </p:nvGrpSpPr>
          <p:grpSpPr>
            <a:xfrm>
              <a:off x="57" y="2850"/>
              <a:ext cx="4075" cy="2557"/>
              <a:chOff x="5604445" y="2808098"/>
              <a:chExt cx="2587546" cy="1623810"/>
            </a:xfrm>
          </p:grpSpPr>
          <p:sp>
            <p:nvSpPr>
              <p:cNvPr id="40" name="矩形 39"/>
              <p:cNvSpPr/>
              <p:nvPr/>
            </p:nvSpPr>
            <p:spPr>
              <a:xfrm>
                <a:off x="5604445" y="3162835"/>
                <a:ext cx="2587546" cy="1269073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algn="r">
                  <a:lnSpc>
                    <a:spcPct val="120000"/>
                  </a:lnSpc>
                </a:pPr>
                <a:r>
                  <a:rPr lang="en-US" altLang="zh-CN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+mn-ea"/>
                    <a:sym typeface="+mn-lt"/>
                  </a:rPr>
                  <a:t>Click here to add content, content to match the title. </a:t>
                </a:r>
                <a:endPara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1" name="矩形 40"/>
              <p:cNvSpPr/>
              <p:nvPr/>
            </p:nvSpPr>
            <p:spPr>
              <a:xfrm>
                <a:off x="5950017" y="2808098"/>
                <a:ext cx="2241974" cy="554740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algn="r">
                  <a:lnSpc>
                    <a:spcPct val="120000"/>
                  </a:lnSpc>
                </a:pPr>
                <a:r>
                  <a:rPr lang="en-US" altLang="zh-CN" b="1" dirty="0">
                    <a:solidFill>
                      <a:srgbClr val="9D6BAB"/>
                    </a:solidFill>
                    <a:cs typeface="+mn-ea"/>
                    <a:sym typeface="+mn-lt"/>
                  </a:rPr>
                  <a:t>Add title text</a:t>
                </a:r>
                <a:endParaRPr lang="zh-CN" altLang="en-US" b="1" dirty="0">
                  <a:solidFill>
                    <a:srgbClr val="9D6BAB"/>
                  </a:solidFill>
                  <a:cs typeface="+mn-ea"/>
                  <a:sym typeface="+mn-lt"/>
                </a:endParaRPr>
              </a:p>
            </p:txBody>
          </p:sp>
        </p:grpSp>
      </p:grpSp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400" tmFilter="0,0; .5, 1; 1, 1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31"/>
          <p:cNvSpPr txBox="1"/>
          <p:nvPr/>
        </p:nvSpPr>
        <p:spPr>
          <a:xfrm>
            <a:off x="1967706" y="183921"/>
            <a:ext cx="5208588" cy="5847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defPPr>
              <a:defRPr lang="zh-CN"/>
            </a:defPPr>
            <a:lvl1pPr lvl="0">
              <a:defRPr sz="3600" b="1">
                <a:solidFill>
                  <a:schemeClr val="accent2"/>
                </a:solidFill>
                <a:cs typeface="+mn-ea"/>
              </a:defRPr>
            </a:lvl1pPr>
          </a:lstStyle>
          <a:p>
            <a:pPr algn="ctr"/>
            <a:r>
              <a:rPr lang="en-US" altLang="zh-CN" sz="3200" dirty="0">
                <a:sym typeface="+mn-lt"/>
              </a:rPr>
              <a:t>After-school Improvement</a:t>
            </a:r>
            <a:endParaRPr lang="zh-CN" altLang="en-US" sz="3200" dirty="0">
              <a:sym typeface="+mn-lt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589516" y="1383717"/>
            <a:ext cx="3334067" cy="2924725"/>
            <a:chOff x="895590" y="981996"/>
            <a:chExt cx="4445667" cy="3899847"/>
          </a:xfrm>
        </p:grpSpPr>
        <p:grpSp>
          <p:nvGrpSpPr>
            <p:cNvPr id="4" name="组合 3"/>
            <p:cNvGrpSpPr/>
            <p:nvPr/>
          </p:nvGrpSpPr>
          <p:grpSpPr>
            <a:xfrm>
              <a:off x="3325343" y="981996"/>
              <a:ext cx="1112117" cy="1112117"/>
              <a:chOff x="3904735" y="1906853"/>
              <a:chExt cx="1112117" cy="1112117"/>
            </a:xfrm>
          </p:grpSpPr>
          <p:sp>
            <p:nvSpPr>
              <p:cNvPr id="92" name="椭圆 91"/>
              <p:cNvSpPr/>
              <p:nvPr/>
            </p:nvSpPr>
            <p:spPr>
              <a:xfrm>
                <a:off x="3904735" y="1906853"/>
                <a:ext cx="1112117" cy="1112117"/>
              </a:xfrm>
              <a:prstGeom prst="ellipse">
                <a:avLst/>
              </a:prstGeom>
              <a:solidFill>
                <a:srgbClr val="ADACC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/>
                <a:endParaRPr lang="zh-CN" altLang="en-US" sz="1280">
                  <a:cs typeface="+mn-ea"/>
                  <a:sym typeface="+mn-lt"/>
                </a:endParaRPr>
              </a:p>
            </p:txBody>
          </p:sp>
          <p:grpSp>
            <p:nvGrpSpPr>
              <p:cNvPr id="94" name="Group 8"/>
              <p:cNvGrpSpPr>
                <a:grpSpLocks noChangeAspect="1"/>
              </p:cNvGrpSpPr>
              <p:nvPr/>
            </p:nvGrpSpPr>
            <p:grpSpPr bwMode="auto">
              <a:xfrm>
                <a:off x="4291933" y="2017366"/>
                <a:ext cx="355772" cy="693394"/>
                <a:chOff x="3693" y="1958"/>
                <a:chExt cx="294" cy="573"/>
              </a:xfrm>
            </p:grpSpPr>
            <p:sp>
              <p:nvSpPr>
                <p:cNvPr id="95" name="AutoShape 7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3695" y="1958"/>
                  <a:ext cx="290" cy="40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76" tIns="34289" rIns="68576" bIns="34289" numCol="1" anchor="t" anchorCtr="0" compatLnSpc="1"/>
                <a:lstStyle/>
                <a:p>
                  <a:endParaRPr lang="zh-CN" altLang="en-US" sz="1280">
                    <a:latin typeface="Calibri" panose="020F0502020204030204" pitchFamily="34" charset="0"/>
                    <a:ea typeface="三极趣味广告体" panose="00000500000000000000" pitchFamily="2" charset="-122"/>
                    <a:sym typeface="Calibri" panose="020F0502020204030204" pitchFamily="34" charset="0"/>
                  </a:endParaRPr>
                </a:p>
              </p:txBody>
            </p:sp>
            <p:sp>
              <p:nvSpPr>
                <p:cNvPr id="96" name="Freeform 9"/>
                <p:cNvSpPr/>
                <p:nvPr/>
              </p:nvSpPr>
              <p:spPr bwMode="auto">
                <a:xfrm>
                  <a:off x="3693" y="2127"/>
                  <a:ext cx="294" cy="404"/>
                </a:xfrm>
                <a:custGeom>
                  <a:avLst/>
                  <a:gdLst>
                    <a:gd name="T0" fmla="*/ 0 w 122"/>
                    <a:gd name="T1" fmla="*/ 21 h 168"/>
                    <a:gd name="T2" fmla="*/ 61 w 122"/>
                    <a:gd name="T3" fmla="*/ 0 h 168"/>
                    <a:gd name="T4" fmla="*/ 122 w 122"/>
                    <a:gd name="T5" fmla="*/ 21 h 168"/>
                    <a:gd name="T6" fmla="*/ 122 w 122"/>
                    <a:gd name="T7" fmla="*/ 107 h 168"/>
                    <a:gd name="T8" fmla="*/ 61 w 122"/>
                    <a:gd name="T9" fmla="*/ 168 h 168"/>
                    <a:gd name="T10" fmla="*/ 0 w 122"/>
                    <a:gd name="T11" fmla="*/ 107 h 168"/>
                    <a:gd name="T12" fmla="*/ 0 w 122"/>
                    <a:gd name="T13" fmla="*/ 21 h 1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2" h="168">
                      <a:moveTo>
                        <a:pt x="0" y="21"/>
                      </a:moveTo>
                      <a:cubicBezTo>
                        <a:pt x="53" y="21"/>
                        <a:pt x="61" y="0"/>
                        <a:pt x="61" y="0"/>
                      </a:cubicBezTo>
                      <a:cubicBezTo>
                        <a:pt x="61" y="0"/>
                        <a:pt x="69" y="21"/>
                        <a:pt x="122" y="21"/>
                      </a:cubicBezTo>
                      <a:cubicBezTo>
                        <a:pt x="122" y="107"/>
                        <a:pt x="122" y="107"/>
                        <a:pt x="122" y="107"/>
                      </a:cubicBezTo>
                      <a:cubicBezTo>
                        <a:pt x="122" y="141"/>
                        <a:pt x="61" y="168"/>
                        <a:pt x="61" y="168"/>
                      </a:cubicBezTo>
                      <a:cubicBezTo>
                        <a:pt x="61" y="168"/>
                        <a:pt x="0" y="141"/>
                        <a:pt x="0" y="107"/>
                      </a:cubicBezTo>
                      <a:lnTo>
                        <a:pt x="0" y="2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68576" tIns="34289" rIns="68576" bIns="34289" numCol="1" anchor="t" anchorCtr="0" compatLnSpc="1"/>
                <a:lstStyle/>
                <a:p>
                  <a:endParaRPr lang="zh-CN" altLang="en-US" sz="1280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97" name="组合 96"/>
            <p:cNvGrpSpPr/>
            <p:nvPr/>
          </p:nvGrpSpPr>
          <p:grpSpPr>
            <a:xfrm>
              <a:off x="1610909" y="1426102"/>
              <a:ext cx="754673" cy="754673"/>
              <a:chOff x="3929866" y="4726093"/>
              <a:chExt cx="754673" cy="754673"/>
            </a:xfrm>
          </p:grpSpPr>
          <p:sp>
            <p:nvSpPr>
              <p:cNvPr id="98" name="椭圆 97"/>
              <p:cNvSpPr/>
              <p:nvPr/>
            </p:nvSpPr>
            <p:spPr>
              <a:xfrm>
                <a:off x="3929866" y="4726093"/>
                <a:ext cx="754673" cy="754673"/>
              </a:xfrm>
              <a:prstGeom prst="ellipse">
                <a:avLst/>
              </a:prstGeom>
              <a:solidFill>
                <a:srgbClr val="ADACC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/>
                <a:endParaRPr lang="zh-CN" altLang="en-US" sz="1280">
                  <a:cs typeface="+mn-ea"/>
                  <a:sym typeface="+mn-lt"/>
                </a:endParaRPr>
              </a:p>
            </p:txBody>
          </p:sp>
          <p:grpSp>
            <p:nvGrpSpPr>
              <p:cNvPr id="99" name="组合 98"/>
              <p:cNvGrpSpPr/>
              <p:nvPr/>
            </p:nvGrpSpPr>
            <p:grpSpPr>
              <a:xfrm>
                <a:off x="4118670" y="4832773"/>
                <a:ext cx="375998" cy="361666"/>
                <a:chOff x="5741988" y="3090863"/>
                <a:chExt cx="708025" cy="681038"/>
              </a:xfrm>
            </p:grpSpPr>
            <p:sp>
              <p:nvSpPr>
                <p:cNvPr id="100" name="AutoShape 20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5741988" y="3090863"/>
                  <a:ext cx="708025" cy="6762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76" tIns="34289" rIns="68576" bIns="34289" numCol="1" anchor="t" anchorCtr="0" compatLnSpc="1"/>
                <a:lstStyle/>
                <a:p>
                  <a:endParaRPr lang="zh-CN" altLang="en-US" sz="1280">
                    <a:latin typeface="Calibri" panose="020F0502020204030204" pitchFamily="34" charset="0"/>
                    <a:ea typeface="三极趣味广告体" panose="00000500000000000000" pitchFamily="2" charset="-122"/>
                    <a:sym typeface="Calibri" panose="020F0502020204030204" pitchFamily="34" charset="0"/>
                  </a:endParaRPr>
                </a:p>
              </p:txBody>
            </p:sp>
            <p:sp>
              <p:nvSpPr>
                <p:cNvPr id="101" name="Freeform 35"/>
                <p:cNvSpPr>
                  <a:spLocks noEditPoints="1"/>
                </p:cNvSpPr>
                <p:nvPr/>
              </p:nvSpPr>
              <p:spPr bwMode="auto">
                <a:xfrm>
                  <a:off x="5745163" y="3403601"/>
                  <a:ext cx="350838" cy="290513"/>
                </a:xfrm>
                <a:custGeom>
                  <a:avLst/>
                  <a:gdLst>
                    <a:gd name="T0" fmla="*/ 89 w 92"/>
                    <a:gd name="T1" fmla="*/ 66 h 76"/>
                    <a:gd name="T2" fmla="*/ 85 w 92"/>
                    <a:gd name="T3" fmla="*/ 61 h 76"/>
                    <a:gd name="T4" fmla="*/ 82 w 92"/>
                    <a:gd name="T5" fmla="*/ 61 h 76"/>
                    <a:gd name="T6" fmla="*/ 79 w 92"/>
                    <a:gd name="T7" fmla="*/ 55 h 76"/>
                    <a:gd name="T8" fmla="*/ 69 w 92"/>
                    <a:gd name="T9" fmla="*/ 55 h 76"/>
                    <a:gd name="T10" fmla="*/ 69 w 92"/>
                    <a:gd name="T11" fmla="*/ 52 h 76"/>
                    <a:gd name="T12" fmla="*/ 75 w 92"/>
                    <a:gd name="T13" fmla="*/ 52 h 76"/>
                    <a:gd name="T14" fmla="*/ 80 w 92"/>
                    <a:gd name="T15" fmla="*/ 48 h 76"/>
                    <a:gd name="T16" fmla="*/ 80 w 92"/>
                    <a:gd name="T17" fmla="*/ 4 h 76"/>
                    <a:gd name="T18" fmla="*/ 75 w 92"/>
                    <a:gd name="T19" fmla="*/ 0 h 76"/>
                    <a:gd name="T20" fmla="*/ 17 w 92"/>
                    <a:gd name="T21" fmla="*/ 0 h 76"/>
                    <a:gd name="T22" fmla="*/ 12 w 92"/>
                    <a:gd name="T23" fmla="*/ 4 h 76"/>
                    <a:gd name="T24" fmla="*/ 12 w 92"/>
                    <a:gd name="T25" fmla="*/ 48 h 76"/>
                    <a:gd name="T26" fmla="*/ 17 w 92"/>
                    <a:gd name="T27" fmla="*/ 52 h 76"/>
                    <a:gd name="T28" fmla="*/ 23 w 92"/>
                    <a:gd name="T29" fmla="*/ 52 h 76"/>
                    <a:gd name="T30" fmla="*/ 23 w 92"/>
                    <a:gd name="T31" fmla="*/ 55 h 76"/>
                    <a:gd name="T32" fmla="*/ 13 w 92"/>
                    <a:gd name="T33" fmla="*/ 55 h 76"/>
                    <a:gd name="T34" fmla="*/ 10 w 92"/>
                    <a:gd name="T35" fmla="*/ 61 h 76"/>
                    <a:gd name="T36" fmla="*/ 7 w 92"/>
                    <a:gd name="T37" fmla="*/ 61 h 76"/>
                    <a:gd name="T38" fmla="*/ 3 w 92"/>
                    <a:gd name="T39" fmla="*/ 66 h 76"/>
                    <a:gd name="T40" fmla="*/ 0 w 92"/>
                    <a:gd name="T41" fmla="*/ 72 h 76"/>
                    <a:gd name="T42" fmla="*/ 4 w 92"/>
                    <a:gd name="T43" fmla="*/ 76 h 76"/>
                    <a:gd name="T44" fmla="*/ 88 w 92"/>
                    <a:gd name="T45" fmla="*/ 76 h 76"/>
                    <a:gd name="T46" fmla="*/ 92 w 92"/>
                    <a:gd name="T47" fmla="*/ 72 h 76"/>
                    <a:gd name="T48" fmla="*/ 89 w 92"/>
                    <a:gd name="T49" fmla="*/ 66 h 76"/>
                    <a:gd name="T50" fmla="*/ 17 w 92"/>
                    <a:gd name="T51" fmla="*/ 49 h 76"/>
                    <a:gd name="T52" fmla="*/ 15 w 92"/>
                    <a:gd name="T53" fmla="*/ 48 h 76"/>
                    <a:gd name="T54" fmla="*/ 15 w 92"/>
                    <a:gd name="T55" fmla="*/ 4 h 76"/>
                    <a:gd name="T56" fmla="*/ 17 w 92"/>
                    <a:gd name="T57" fmla="*/ 2 h 76"/>
                    <a:gd name="T58" fmla="*/ 75 w 92"/>
                    <a:gd name="T59" fmla="*/ 2 h 76"/>
                    <a:gd name="T60" fmla="*/ 77 w 92"/>
                    <a:gd name="T61" fmla="*/ 4 h 76"/>
                    <a:gd name="T62" fmla="*/ 77 w 92"/>
                    <a:gd name="T63" fmla="*/ 48 h 76"/>
                    <a:gd name="T64" fmla="*/ 75 w 92"/>
                    <a:gd name="T65" fmla="*/ 49 h 76"/>
                    <a:gd name="T66" fmla="*/ 17 w 92"/>
                    <a:gd name="T67" fmla="*/ 49 h 76"/>
                    <a:gd name="T68" fmla="*/ 77 w 92"/>
                    <a:gd name="T69" fmla="*/ 58 h 76"/>
                    <a:gd name="T70" fmla="*/ 80 w 92"/>
                    <a:gd name="T71" fmla="*/ 64 h 76"/>
                    <a:gd name="T72" fmla="*/ 85 w 92"/>
                    <a:gd name="T73" fmla="*/ 64 h 76"/>
                    <a:gd name="T74" fmla="*/ 87 w 92"/>
                    <a:gd name="T75" fmla="*/ 66 h 76"/>
                    <a:gd name="T76" fmla="*/ 87 w 92"/>
                    <a:gd name="T77" fmla="*/ 66 h 76"/>
                    <a:gd name="T78" fmla="*/ 90 w 92"/>
                    <a:gd name="T79" fmla="*/ 72 h 76"/>
                    <a:gd name="T80" fmla="*/ 88 w 92"/>
                    <a:gd name="T81" fmla="*/ 74 h 76"/>
                    <a:gd name="T82" fmla="*/ 4 w 92"/>
                    <a:gd name="T83" fmla="*/ 74 h 76"/>
                    <a:gd name="T84" fmla="*/ 2 w 92"/>
                    <a:gd name="T85" fmla="*/ 72 h 76"/>
                    <a:gd name="T86" fmla="*/ 5 w 92"/>
                    <a:gd name="T87" fmla="*/ 66 h 76"/>
                    <a:gd name="T88" fmla="*/ 5 w 92"/>
                    <a:gd name="T89" fmla="*/ 66 h 76"/>
                    <a:gd name="T90" fmla="*/ 7 w 92"/>
                    <a:gd name="T91" fmla="*/ 64 h 76"/>
                    <a:gd name="T92" fmla="*/ 12 w 92"/>
                    <a:gd name="T93" fmla="*/ 64 h 76"/>
                    <a:gd name="T94" fmla="*/ 15 w 92"/>
                    <a:gd name="T95" fmla="*/ 58 h 76"/>
                    <a:gd name="T96" fmla="*/ 26 w 92"/>
                    <a:gd name="T97" fmla="*/ 58 h 76"/>
                    <a:gd name="T98" fmla="*/ 26 w 92"/>
                    <a:gd name="T99" fmla="*/ 54 h 76"/>
                    <a:gd name="T100" fmla="*/ 66 w 92"/>
                    <a:gd name="T101" fmla="*/ 54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92" h="76">
                      <a:moveTo>
                        <a:pt x="89" y="66"/>
                      </a:moveTo>
                      <a:cubicBezTo>
                        <a:pt x="89" y="63"/>
                        <a:pt x="88" y="61"/>
                        <a:pt x="85" y="61"/>
                      </a:cubicBezTo>
                      <a:cubicBezTo>
                        <a:pt x="82" y="61"/>
                        <a:pt x="82" y="61"/>
                        <a:pt x="82" y="61"/>
                      </a:cubicBezTo>
                      <a:cubicBezTo>
                        <a:pt x="79" y="55"/>
                        <a:pt x="79" y="55"/>
                        <a:pt x="79" y="55"/>
                      </a:cubicBezTo>
                      <a:cubicBezTo>
                        <a:pt x="69" y="55"/>
                        <a:pt x="69" y="55"/>
                        <a:pt x="69" y="55"/>
                      </a:cubicBezTo>
                      <a:cubicBezTo>
                        <a:pt x="69" y="52"/>
                        <a:pt x="69" y="52"/>
                        <a:pt x="69" y="52"/>
                      </a:cubicBezTo>
                      <a:cubicBezTo>
                        <a:pt x="75" y="52"/>
                        <a:pt x="75" y="52"/>
                        <a:pt x="75" y="52"/>
                      </a:cubicBezTo>
                      <a:cubicBezTo>
                        <a:pt x="78" y="52"/>
                        <a:pt x="80" y="50"/>
                        <a:pt x="80" y="48"/>
                      </a:cubicBezTo>
                      <a:cubicBezTo>
                        <a:pt x="80" y="4"/>
                        <a:pt x="80" y="4"/>
                        <a:pt x="80" y="4"/>
                      </a:cubicBezTo>
                      <a:cubicBezTo>
                        <a:pt x="80" y="2"/>
                        <a:pt x="78" y="0"/>
                        <a:pt x="75" y="0"/>
                      </a:cubicBez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4" y="0"/>
                        <a:pt x="12" y="2"/>
                        <a:pt x="12" y="4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50"/>
                        <a:pt x="14" y="52"/>
                        <a:pt x="17" y="52"/>
                      </a:cubicBezTo>
                      <a:cubicBezTo>
                        <a:pt x="23" y="52"/>
                        <a:pt x="23" y="52"/>
                        <a:pt x="23" y="52"/>
                      </a:cubicBezTo>
                      <a:cubicBezTo>
                        <a:pt x="23" y="55"/>
                        <a:pt x="23" y="55"/>
                        <a:pt x="23" y="55"/>
                      </a:cubicBezTo>
                      <a:cubicBezTo>
                        <a:pt x="13" y="55"/>
                        <a:pt x="13" y="55"/>
                        <a:pt x="13" y="55"/>
                      </a:cubicBezTo>
                      <a:cubicBezTo>
                        <a:pt x="10" y="61"/>
                        <a:pt x="10" y="61"/>
                        <a:pt x="10" y="61"/>
                      </a:cubicBezTo>
                      <a:cubicBezTo>
                        <a:pt x="7" y="61"/>
                        <a:pt x="7" y="61"/>
                        <a:pt x="7" y="61"/>
                      </a:cubicBezTo>
                      <a:cubicBezTo>
                        <a:pt x="4" y="61"/>
                        <a:pt x="3" y="63"/>
                        <a:pt x="3" y="66"/>
                      </a:cubicBezTo>
                      <a:cubicBezTo>
                        <a:pt x="0" y="72"/>
                        <a:pt x="0" y="72"/>
                        <a:pt x="0" y="72"/>
                      </a:cubicBezTo>
                      <a:cubicBezTo>
                        <a:pt x="0" y="75"/>
                        <a:pt x="1" y="76"/>
                        <a:pt x="4" y="76"/>
                      </a:cubicBezTo>
                      <a:cubicBezTo>
                        <a:pt x="88" y="76"/>
                        <a:pt x="88" y="76"/>
                        <a:pt x="88" y="76"/>
                      </a:cubicBezTo>
                      <a:cubicBezTo>
                        <a:pt x="91" y="76"/>
                        <a:pt x="92" y="75"/>
                        <a:pt x="92" y="72"/>
                      </a:cubicBezTo>
                      <a:lnTo>
                        <a:pt x="89" y="66"/>
                      </a:lnTo>
                      <a:close/>
                      <a:moveTo>
                        <a:pt x="17" y="49"/>
                      </a:moveTo>
                      <a:cubicBezTo>
                        <a:pt x="15" y="49"/>
                        <a:pt x="15" y="49"/>
                        <a:pt x="15" y="48"/>
                      </a:cubicBezTo>
                      <a:cubicBezTo>
                        <a:pt x="15" y="4"/>
                        <a:pt x="15" y="4"/>
                        <a:pt x="15" y="4"/>
                      </a:cubicBezTo>
                      <a:cubicBezTo>
                        <a:pt x="15" y="3"/>
                        <a:pt x="15" y="2"/>
                        <a:pt x="17" y="2"/>
                      </a:cubicBezTo>
                      <a:cubicBezTo>
                        <a:pt x="75" y="2"/>
                        <a:pt x="75" y="2"/>
                        <a:pt x="75" y="2"/>
                      </a:cubicBezTo>
                      <a:cubicBezTo>
                        <a:pt x="77" y="2"/>
                        <a:pt x="77" y="3"/>
                        <a:pt x="77" y="4"/>
                      </a:cubicBezTo>
                      <a:cubicBezTo>
                        <a:pt x="77" y="48"/>
                        <a:pt x="77" y="48"/>
                        <a:pt x="77" y="48"/>
                      </a:cubicBezTo>
                      <a:cubicBezTo>
                        <a:pt x="77" y="49"/>
                        <a:pt x="77" y="49"/>
                        <a:pt x="75" y="49"/>
                      </a:cubicBezTo>
                      <a:lnTo>
                        <a:pt x="17" y="49"/>
                      </a:lnTo>
                      <a:close/>
                      <a:moveTo>
                        <a:pt x="77" y="58"/>
                      </a:moveTo>
                      <a:cubicBezTo>
                        <a:pt x="78" y="59"/>
                        <a:pt x="80" y="64"/>
                        <a:pt x="80" y="64"/>
                      </a:cubicBezTo>
                      <a:cubicBezTo>
                        <a:pt x="85" y="64"/>
                        <a:pt x="85" y="64"/>
                        <a:pt x="85" y="64"/>
                      </a:cubicBezTo>
                      <a:cubicBezTo>
                        <a:pt x="86" y="64"/>
                        <a:pt x="87" y="65"/>
                        <a:pt x="87" y="66"/>
                      </a:cubicBezTo>
                      <a:cubicBezTo>
                        <a:pt x="87" y="66"/>
                        <a:pt x="87" y="66"/>
                        <a:pt x="87" y="66"/>
                      </a:cubicBezTo>
                      <a:cubicBezTo>
                        <a:pt x="87" y="66"/>
                        <a:pt x="89" y="71"/>
                        <a:pt x="90" y="72"/>
                      </a:cubicBezTo>
                      <a:cubicBezTo>
                        <a:pt x="90" y="73"/>
                        <a:pt x="89" y="74"/>
                        <a:pt x="88" y="74"/>
                      </a:cubicBezTo>
                      <a:cubicBezTo>
                        <a:pt x="4" y="74"/>
                        <a:pt x="4" y="74"/>
                        <a:pt x="4" y="74"/>
                      </a:cubicBezTo>
                      <a:cubicBezTo>
                        <a:pt x="3" y="74"/>
                        <a:pt x="2" y="73"/>
                        <a:pt x="2" y="72"/>
                      </a:cubicBezTo>
                      <a:cubicBezTo>
                        <a:pt x="3" y="71"/>
                        <a:pt x="5" y="66"/>
                        <a:pt x="5" y="66"/>
                      </a:cubicBezTo>
                      <a:cubicBezTo>
                        <a:pt x="5" y="66"/>
                        <a:pt x="5" y="66"/>
                        <a:pt x="5" y="66"/>
                      </a:cubicBezTo>
                      <a:cubicBezTo>
                        <a:pt x="5" y="65"/>
                        <a:pt x="6" y="64"/>
                        <a:pt x="7" y="64"/>
                      </a:cubicBezTo>
                      <a:cubicBezTo>
                        <a:pt x="12" y="64"/>
                        <a:pt x="12" y="64"/>
                        <a:pt x="12" y="64"/>
                      </a:cubicBezTo>
                      <a:cubicBezTo>
                        <a:pt x="12" y="64"/>
                        <a:pt x="14" y="59"/>
                        <a:pt x="15" y="58"/>
                      </a:cubicBezTo>
                      <a:cubicBezTo>
                        <a:pt x="17" y="58"/>
                        <a:pt x="26" y="58"/>
                        <a:pt x="26" y="58"/>
                      </a:cubicBezTo>
                      <a:cubicBezTo>
                        <a:pt x="26" y="58"/>
                        <a:pt x="26" y="54"/>
                        <a:pt x="26" y="54"/>
                      </a:cubicBezTo>
                      <a:cubicBezTo>
                        <a:pt x="30" y="54"/>
                        <a:pt x="62" y="54"/>
                        <a:pt x="66" y="54"/>
                      </a:cubicBezTo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vert="horz" wrap="square" lIns="68576" tIns="34289" rIns="68576" bIns="34289" numCol="1" anchor="t" anchorCtr="0" compatLnSpc="1"/>
                <a:lstStyle/>
                <a:p>
                  <a:endParaRPr lang="zh-CN" altLang="en-US" sz="1280">
                    <a:cs typeface="+mn-ea"/>
                    <a:sym typeface="+mn-lt"/>
                  </a:endParaRPr>
                </a:p>
              </p:txBody>
            </p:sp>
            <p:grpSp>
              <p:nvGrpSpPr>
                <p:cNvPr id="102" name="组合 101"/>
                <p:cNvGrpSpPr/>
                <p:nvPr/>
              </p:nvGrpSpPr>
              <p:grpSpPr>
                <a:xfrm>
                  <a:off x="5791201" y="3090863"/>
                  <a:ext cx="655637" cy="681038"/>
                  <a:chOff x="5791201" y="3090863"/>
                  <a:chExt cx="655637" cy="681038"/>
                </a:xfrm>
              </p:grpSpPr>
              <p:sp>
                <p:nvSpPr>
                  <p:cNvPr id="103" name="Freeform 22"/>
                  <p:cNvSpPr/>
                  <p:nvPr/>
                </p:nvSpPr>
                <p:spPr bwMode="auto">
                  <a:xfrm>
                    <a:off x="6008688" y="3113088"/>
                    <a:ext cx="212725" cy="157163"/>
                  </a:xfrm>
                  <a:custGeom>
                    <a:avLst/>
                    <a:gdLst>
                      <a:gd name="T0" fmla="*/ 51 w 56"/>
                      <a:gd name="T1" fmla="*/ 0 h 41"/>
                      <a:gd name="T2" fmla="*/ 4 w 56"/>
                      <a:gd name="T3" fmla="*/ 0 h 41"/>
                      <a:gd name="T4" fmla="*/ 0 w 56"/>
                      <a:gd name="T5" fmla="*/ 5 h 41"/>
                      <a:gd name="T6" fmla="*/ 0 w 56"/>
                      <a:gd name="T7" fmla="*/ 36 h 41"/>
                      <a:gd name="T8" fmla="*/ 4 w 56"/>
                      <a:gd name="T9" fmla="*/ 41 h 41"/>
                      <a:gd name="T10" fmla="*/ 51 w 56"/>
                      <a:gd name="T11" fmla="*/ 41 h 41"/>
                      <a:gd name="T12" fmla="*/ 56 w 56"/>
                      <a:gd name="T13" fmla="*/ 36 h 41"/>
                      <a:gd name="T14" fmla="*/ 56 w 56"/>
                      <a:gd name="T15" fmla="*/ 5 h 41"/>
                      <a:gd name="T16" fmla="*/ 51 w 56"/>
                      <a:gd name="T17" fmla="*/ 0 h 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56" h="41">
                        <a:moveTo>
                          <a:pt x="51" y="0"/>
                        </a:move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2" y="0"/>
                          <a:pt x="0" y="2"/>
                          <a:pt x="0" y="5"/>
                        </a:cubicBezTo>
                        <a:cubicBezTo>
                          <a:pt x="0" y="36"/>
                          <a:pt x="0" y="36"/>
                          <a:pt x="0" y="36"/>
                        </a:cubicBezTo>
                        <a:cubicBezTo>
                          <a:pt x="0" y="39"/>
                          <a:pt x="2" y="41"/>
                          <a:pt x="4" y="41"/>
                        </a:cubicBezTo>
                        <a:cubicBezTo>
                          <a:pt x="51" y="41"/>
                          <a:pt x="51" y="41"/>
                          <a:pt x="51" y="41"/>
                        </a:cubicBezTo>
                        <a:cubicBezTo>
                          <a:pt x="54" y="41"/>
                          <a:pt x="56" y="39"/>
                          <a:pt x="56" y="36"/>
                        </a:cubicBezTo>
                        <a:cubicBezTo>
                          <a:pt x="56" y="5"/>
                          <a:pt x="56" y="5"/>
                          <a:pt x="56" y="5"/>
                        </a:cubicBezTo>
                        <a:cubicBezTo>
                          <a:pt x="56" y="2"/>
                          <a:pt x="54" y="0"/>
                          <a:pt x="51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04" name="Freeform 23"/>
                  <p:cNvSpPr/>
                  <p:nvPr/>
                </p:nvSpPr>
                <p:spPr bwMode="auto">
                  <a:xfrm>
                    <a:off x="5984876" y="3351213"/>
                    <a:ext cx="31750" cy="11113"/>
                  </a:xfrm>
                  <a:custGeom>
                    <a:avLst/>
                    <a:gdLst>
                      <a:gd name="T0" fmla="*/ 6 w 8"/>
                      <a:gd name="T1" fmla="*/ 0 h 3"/>
                      <a:gd name="T2" fmla="*/ 1 w 8"/>
                      <a:gd name="T3" fmla="*/ 0 h 3"/>
                      <a:gd name="T4" fmla="*/ 0 w 8"/>
                      <a:gd name="T5" fmla="*/ 1 h 3"/>
                      <a:gd name="T6" fmla="*/ 1 w 8"/>
                      <a:gd name="T7" fmla="*/ 3 h 3"/>
                      <a:gd name="T8" fmla="*/ 6 w 8"/>
                      <a:gd name="T9" fmla="*/ 3 h 3"/>
                      <a:gd name="T10" fmla="*/ 8 w 8"/>
                      <a:gd name="T11" fmla="*/ 1 h 3"/>
                      <a:gd name="T12" fmla="*/ 6 w 8"/>
                      <a:gd name="T13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3">
                        <a:moveTo>
                          <a:pt x="6" y="0"/>
                        </a:moveTo>
                        <a:cubicBezTo>
                          <a:pt x="1" y="0"/>
                          <a:pt x="1" y="0"/>
                          <a:pt x="1" y="0"/>
                        </a:cubicBezTo>
                        <a:cubicBezTo>
                          <a:pt x="0" y="0"/>
                          <a:pt x="0" y="1"/>
                          <a:pt x="0" y="1"/>
                        </a:cubicBezTo>
                        <a:cubicBezTo>
                          <a:pt x="0" y="2"/>
                          <a:pt x="0" y="3"/>
                          <a:pt x="1" y="3"/>
                        </a:cubicBezTo>
                        <a:cubicBezTo>
                          <a:pt x="6" y="3"/>
                          <a:pt x="6" y="3"/>
                          <a:pt x="6" y="3"/>
                        </a:cubicBezTo>
                        <a:cubicBezTo>
                          <a:pt x="7" y="3"/>
                          <a:pt x="8" y="2"/>
                          <a:pt x="8" y="1"/>
                        </a:cubicBezTo>
                        <a:cubicBezTo>
                          <a:pt x="8" y="1"/>
                          <a:pt x="7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05" name="Freeform 24"/>
                  <p:cNvSpPr/>
                  <p:nvPr/>
                </p:nvSpPr>
                <p:spPr bwMode="auto">
                  <a:xfrm>
                    <a:off x="6030913" y="3351213"/>
                    <a:ext cx="30163" cy="11113"/>
                  </a:xfrm>
                  <a:custGeom>
                    <a:avLst/>
                    <a:gdLst>
                      <a:gd name="T0" fmla="*/ 6 w 8"/>
                      <a:gd name="T1" fmla="*/ 0 h 3"/>
                      <a:gd name="T2" fmla="*/ 1 w 8"/>
                      <a:gd name="T3" fmla="*/ 0 h 3"/>
                      <a:gd name="T4" fmla="*/ 0 w 8"/>
                      <a:gd name="T5" fmla="*/ 1 h 3"/>
                      <a:gd name="T6" fmla="*/ 1 w 8"/>
                      <a:gd name="T7" fmla="*/ 3 h 3"/>
                      <a:gd name="T8" fmla="*/ 6 w 8"/>
                      <a:gd name="T9" fmla="*/ 3 h 3"/>
                      <a:gd name="T10" fmla="*/ 8 w 8"/>
                      <a:gd name="T11" fmla="*/ 1 h 3"/>
                      <a:gd name="T12" fmla="*/ 6 w 8"/>
                      <a:gd name="T13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3">
                        <a:moveTo>
                          <a:pt x="6" y="0"/>
                        </a:moveTo>
                        <a:cubicBezTo>
                          <a:pt x="1" y="0"/>
                          <a:pt x="1" y="0"/>
                          <a:pt x="1" y="0"/>
                        </a:cubicBezTo>
                        <a:cubicBezTo>
                          <a:pt x="0" y="0"/>
                          <a:pt x="0" y="1"/>
                          <a:pt x="0" y="1"/>
                        </a:cubicBezTo>
                        <a:cubicBezTo>
                          <a:pt x="0" y="2"/>
                          <a:pt x="0" y="3"/>
                          <a:pt x="1" y="3"/>
                        </a:cubicBezTo>
                        <a:cubicBezTo>
                          <a:pt x="6" y="3"/>
                          <a:pt x="6" y="3"/>
                          <a:pt x="6" y="3"/>
                        </a:cubicBezTo>
                        <a:cubicBezTo>
                          <a:pt x="7" y="3"/>
                          <a:pt x="8" y="2"/>
                          <a:pt x="8" y="1"/>
                        </a:cubicBezTo>
                        <a:cubicBezTo>
                          <a:pt x="8" y="1"/>
                          <a:pt x="7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06" name="Freeform 25"/>
                  <p:cNvSpPr/>
                  <p:nvPr/>
                </p:nvSpPr>
                <p:spPr bwMode="auto">
                  <a:xfrm>
                    <a:off x="6076951" y="3351213"/>
                    <a:ext cx="30163" cy="11113"/>
                  </a:xfrm>
                  <a:custGeom>
                    <a:avLst/>
                    <a:gdLst>
                      <a:gd name="T0" fmla="*/ 6 w 8"/>
                      <a:gd name="T1" fmla="*/ 0 h 3"/>
                      <a:gd name="T2" fmla="*/ 2 w 8"/>
                      <a:gd name="T3" fmla="*/ 0 h 3"/>
                      <a:gd name="T4" fmla="*/ 0 w 8"/>
                      <a:gd name="T5" fmla="*/ 1 h 3"/>
                      <a:gd name="T6" fmla="*/ 2 w 8"/>
                      <a:gd name="T7" fmla="*/ 3 h 3"/>
                      <a:gd name="T8" fmla="*/ 6 w 8"/>
                      <a:gd name="T9" fmla="*/ 3 h 3"/>
                      <a:gd name="T10" fmla="*/ 8 w 8"/>
                      <a:gd name="T11" fmla="*/ 1 h 3"/>
                      <a:gd name="T12" fmla="*/ 6 w 8"/>
                      <a:gd name="T13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3">
                        <a:moveTo>
                          <a:pt x="6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0" y="0"/>
                          <a:pt x="0" y="1"/>
                          <a:pt x="0" y="1"/>
                        </a:cubicBezTo>
                        <a:cubicBezTo>
                          <a:pt x="0" y="2"/>
                          <a:pt x="0" y="3"/>
                          <a:pt x="2" y="3"/>
                        </a:cubicBezTo>
                        <a:cubicBezTo>
                          <a:pt x="6" y="3"/>
                          <a:pt x="6" y="3"/>
                          <a:pt x="6" y="3"/>
                        </a:cubicBezTo>
                        <a:cubicBezTo>
                          <a:pt x="7" y="3"/>
                          <a:pt x="8" y="2"/>
                          <a:pt x="8" y="1"/>
                        </a:cubicBezTo>
                        <a:cubicBezTo>
                          <a:pt x="8" y="1"/>
                          <a:pt x="7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07" name="Freeform 26"/>
                  <p:cNvSpPr/>
                  <p:nvPr/>
                </p:nvSpPr>
                <p:spPr bwMode="auto">
                  <a:xfrm>
                    <a:off x="6122988" y="3351213"/>
                    <a:ext cx="30163" cy="11113"/>
                  </a:xfrm>
                  <a:custGeom>
                    <a:avLst/>
                    <a:gdLst>
                      <a:gd name="T0" fmla="*/ 6 w 8"/>
                      <a:gd name="T1" fmla="*/ 0 h 3"/>
                      <a:gd name="T2" fmla="*/ 2 w 8"/>
                      <a:gd name="T3" fmla="*/ 0 h 3"/>
                      <a:gd name="T4" fmla="*/ 0 w 8"/>
                      <a:gd name="T5" fmla="*/ 1 h 3"/>
                      <a:gd name="T6" fmla="*/ 2 w 8"/>
                      <a:gd name="T7" fmla="*/ 3 h 3"/>
                      <a:gd name="T8" fmla="*/ 6 w 8"/>
                      <a:gd name="T9" fmla="*/ 3 h 3"/>
                      <a:gd name="T10" fmla="*/ 8 w 8"/>
                      <a:gd name="T11" fmla="*/ 1 h 3"/>
                      <a:gd name="T12" fmla="*/ 6 w 8"/>
                      <a:gd name="T13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3">
                        <a:moveTo>
                          <a:pt x="6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0" y="0"/>
                          <a:pt x="0" y="1"/>
                          <a:pt x="0" y="1"/>
                        </a:cubicBezTo>
                        <a:cubicBezTo>
                          <a:pt x="0" y="2"/>
                          <a:pt x="0" y="3"/>
                          <a:pt x="2" y="3"/>
                        </a:cubicBezTo>
                        <a:cubicBezTo>
                          <a:pt x="6" y="3"/>
                          <a:pt x="6" y="3"/>
                          <a:pt x="6" y="3"/>
                        </a:cubicBezTo>
                        <a:cubicBezTo>
                          <a:pt x="7" y="3"/>
                          <a:pt x="8" y="2"/>
                          <a:pt x="8" y="1"/>
                        </a:cubicBezTo>
                        <a:cubicBezTo>
                          <a:pt x="8" y="1"/>
                          <a:pt x="7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08" name="Freeform 27"/>
                  <p:cNvSpPr/>
                  <p:nvPr/>
                </p:nvSpPr>
                <p:spPr bwMode="auto">
                  <a:xfrm>
                    <a:off x="6169026" y="3351213"/>
                    <a:ext cx="30163" cy="11113"/>
                  </a:xfrm>
                  <a:custGeom>
                    <a:avLst/>
                    <a:gdLst>
                      <a:gd name="T0" fmla="*/ 6 w 8"/>
                      <a:gd name="T1" fmla="*/ 0 h 3"/>
                      <a:gd name="T2" fmla="*/ 2 w 8"/>
                      <a:gd name="T3" fmla="*/ 0 h 3"/>
                      <a:gd name="T4" fmla="*/ 0 w 8"/>
                      <a:gd name="T5" fmla="*/ 1 h 3"/>
                      <a:gd name="T6" fmla="*/ 2 w 8"/>
                      <a:gd name="T7" fmla="*/ 3 h 3"/>
                      <a:gd name="T8" fmla="*/ 6 w 8"/>
                      <a:gd name="T9" fmla="*/ 3 h 3"/>
                      <a:gd name="T10" fmla="*/ 8 w 8"/>
                      <a:gd name="T11" fmla="*/ 1 h 3"/>
                      <a:gd name="T12" fmla="*/ 6 w 8"/>
                      <a:gd name="T13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3">
                        <a:moveTo>
                          <a:pt x="6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1"/>
                        </a:cubicBezTo>
                        <a:cubicBezTo>
                          <a:pt x="0" y="2"/>
                          <a:pt x="1" y="3"/>
                          <a:pt x="2" y="3"/>
                        </a:cubicBezTo>
                        <a:cubicBezTo>
                          <a:pt x="6" y="3"/>
                          <a:pt x="6" y="3"/>
                          <a:pt x="6" y="3"/>
                        </a:cubicBezTo>
                        <a:cubicBezTo>
                          <a:pt x="7" y="3"/>
                          <a:pt x="8" y="2"/>
                          <a:pt x="8" y="1"/>
                        </a:cubicBezTo>
                        <a:cubicBezTo>
                          <a:pt x="8" y="1"/>
                          <a:pt x="7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09" name="Freeform 28"/>
                  <p:cNvSpPr/>
                  <p:nvPr/>
                </p:nvSpPr>
                <p:spPr bwMode="auto">
                  <a:xfrm>
                    <a:off x="6213476" y="3351213"/>
                    <a:ext cx="30163" cy="11113"/>
                  </a:xfrm>
                  <a:custGeom>
                    <a:avLst/>
                    <a:gdLst>
                      <a:gd name="T0" fmla="*/ 6 w 8"/>
                      <a:gd name="T1" fmla="*/ 0 h 3"/>
                      <a:gd name="T2" fmla="*/ 2 w 8"/>
                      <a:gd name="T3" fmla="*/ 0 h 3"/>
                      <a:gd name="T4" fmla="*/ 0 w 8"/>
                      <a:gd name="T5" fmla="*/ 1 h 3"/>
                      <a:gd name="T6" fmla="*/ 2 w 8"/>
                      <a:gd name="T7" fmla="*/ 3 h 3"/>
                      <a:gd name="T8" fmla="*/ 6 w 8"/>
                      <a:gd name="T9" fmla="*/ 3 h 3"/>
                      <a:gd name="T10" fmla="*/ 8 w 8"/>
                      <a:gd name="T11" fmla="*/ 1 h 3"/>
                      <a:gd name="T12" fmla="*/ 6 w 8"/>
                      <a:gd name="T13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3">
                        <a:moveTo>
                          <a:pt x="6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1"/>
                        </a:cubicBezTo>
                        <a:cubicBezTo>
                          <a:pt x="0" y="2"/>
                          <a:pt x="1" y="3"/>
                          <a:pt x="2" y="3"/>
                        </a:cubicBezTo>
                        <a:cubicBezTo>
                          <a:pt x="6" y="3"/>
                          <a:pt x="6" y="3"/>
                          <a:pt x="6" y="3"/>
                        </a:cubicBezTo>
                        <a:cubicBezTo>
                          <a:pt x="7" y="3"/>
                          <a:pt x="8" y="2"/>
                          <a:pt x="8" y="1"/>
                        </a:cubicBezTo>
                        <a:cubicBezTo>
                          <a:pt x="8" y="1"/>
                          <a:pt x="7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10" name="Freeform 29"/>
                  <p:cNvSpPr/>
                  <p:nvPr/>
                </p:nvSpPr>
                <p:spPr bwMode="auto">
                  <a:xfrm>
                    <a:off x="6008688" y="3335338"/>
                    <a:ext cx="30163" cy="7938"/>
                  </a:xfrm>
                  <a:custGeom>
                    <a:avLst/>
                    <a:gdLst>
                      <a:gd name="T0" fmla="*/ 1 w 8"/>
                      <a:gd name="T1" fmla="*/ 2 h 2"/>
                      <a:gd name="T2" fmla="*/ 6 w 8"/>
                      <a:gd name="T3" fmla="*/ 2 h 2"/>
                      <a:gd name="T4" fmla="*/ 8 w 8"/>
                      <a:gd name="T5" fmla="*/ 1 h 2"/>
                      <a:gd name="T6" fmla="*/ 6 w 8"/>
                      <a:gd name="T7" fmla="*/ 0 h 2"/>
                      <a:gd name="T8" fmla="*/ 1 w 8"/>
                      <a:gd name="T9" fmla="*/ 0 h 2"/>
                      <a:gd name="T10" fmla="*/ 0 w 8"/>
                      <a:gd name="T11" fmla="*/ 1 h 2"/>
                      <a:gd name="T12" fmla="*/ 1 w 8"/>
                      <a:gd name="T13" fmla="*/ 2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2">
                        <a:moveTo>
                          <a:pt x="1" y="2"/>
                        </a:moveTo>
                        <a:cubicBezTo>
                          <a:pt x="6" y="2"/>
                          <a:pt x="6" y="2"/>
                          <a:pt x="6" y="2"/>
                        </a:cubicBezTo>
                        <a:cubicBezTo>
                          <a:pt x="7" y="2"/>
                          <a:pt x="8" y="2"/>
                          <a:pt x="8" y="1"/>
                        </a:cubicBezTo>
                        <a:cubicBezTo>
                          <a:pt x="8" y="0"/>
                          <a:pt x="7" y="0"/>
                          <a:pt x="6" y="0"/>
                        </a:cubicBezTo>
                        <a:cubicBezTo>
                          <a:pt x="1" y="0"/>
                          <a:pt x="1" y="0"/>
                          <a:pt x="1" y="0"/>
                        </a:cubicBezTo>
                        <a:cubicBezTo>
                          <a:pt x="0" y="0"/>
                          <a:pt x="0" y="0"/>
                          <a:pt x="0" y="1"/>
                        </a:cubicBezTo>
                        <a:cubicBezTo>
                          <a:pt x="0" y="2"/>
                          <a:pt x="0" y="2"/>
                          <a:pt x="1" y="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11" name="Freeform 30"/>
                  <p:cNvSpPr/>
                  <p:nvPr/>
                </p:nvSpPr>
                <p:spPr bwMode="auto">
                  <a:xfrm>
                    <a:off x="6054726" y="3335338"/>
                    <a:ext cx="30163" cy="7938"/>
                  </a:xfrm>
                  <a:custGeom>
                    <a:avLst/>
                    <a:gdLst>
                      <a:gd name="T0" fmla="*/ 1 w 8"/>
                      <a:gd name="T1" fmla="*/ 2 h 2"/>
                      <a:gd name="T2" fmla="*/ 6 w 8"/>
                      <a:gd name="T3" fmla="*/ 2 h 2"/>
                      <a:gd name="T4" fmla="*/ 8 w 8"/>
                      <a:gd name="T5" fmla="*/ 1 h 2"/>
                      <a:gd name="T6" fmla="*/ 6 w 8"/>
                      <a:gd name="T7" fmla="*/ 0 h 2"/>
                      <a:gd name="T8" fmla="*/ 1 w 8"/>
                      <a:gd name="T9" fmla="*/ 0 h 2"/>
                      <a:gd name="T10" fmla="*/ 0 w 8"/>
                      <a:gd name="T11" fmla="*/ 1 h 2"/>
                      <a:gd name="T12" fmla="*/ 1 w 8"/>
                      <a:gd name="T13" fmla="*/ 2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2">
                        <a:moveTo>
                          <a:pt x="1" y="2"/>
                        </a:moveTo>
                        <a:cubicBezTo>
                          <a:pt x="6" y="2"/>
                          <a:pt x="6" y="2"/>
                          <a:pt x="6" y="2"/>
                        </a:cubicBezTo>
                        <a:cubicBezTo>
                          <a:pt x="7" y="2"/>
                          <a:pt x="8" y="2"/>
                          <a:pt x="8" y="1"/>
                        </a:cubicBezTo>
                        <a:cubicBezTo>
                          <a:pt x="8" y="0"/>
                          <a:pt x="7" y="0"/>
                          <a:pt x="6" y="0"/>
                        </a:cubicBezTo>
                        <a:cubicBezTo>
                          <a:pt x="1" y="0"/>
                          <a:pt x="1" y="0"/>
                          <a:pt x="1" y="0"/>
                        </a:cubicBezTo>
                        <a:cubicBezTo>
                          <a:pt x="0" y="0"/>
                          <a:pt x="0" y="0"/>
                          <a:pt x="0" y="1"/>
                        </a:cubicBezTo>
                        <a:cubicBezTo>
                          <a:pt x="0" y="2"/>
                          <a:pt x="0" y="2"/>
                          <a:pt x="1" y="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12" name="Freeform 31"/>
                  <p:cNvSpPr/>
                  <p:nvPr/>
                </p:nvSpPr>
                <p:spPr bwMode="auto">
                  <a:xfrm>
                    <a:off x="6099176" y="3335338"/>
                    <a:ext cx="31750" cy="7938"/>
                  </a:xfrm>
                  <a:custGeom>
                    <a:avLst/>
                    <a:gdLst>
                      <a:gd name="T0" fmla="*/ 2 w 8"/>
                      <a:gd name="T1" fmla="*/ 2 h 2"/>
                      <a:gd name="T2" fmla="*/ 6 w 8"/>
                      <a:gd name="T3" fmla="*/ 2 h 2"/>
                      <a:gd name="T4" fmla="*/ 8 w 8"/>
                      <a:gd name="T5" fmla="*/ 1 h 2"/>
                      <a:gd name="T6" fmla="*/ 6 w 8"/>
                      <a:gd name="T7" fmla="*/ 0 h 2"/>
                      <a:gd name="T8" fmla="*/ 2 w 8"/>
                      <a:gd name="T9" fmla="*/ 0 h 2"/>
                      <a:gd name="T10" fmla="*/ 0 w 8"/>
                      <a:gd name="T11" fmla="*/ 1 h 2"/>
                      <a:gd name="T12" fmla="*/ 2 w 8"/>
                      <a:gd name="T13" fmla="*/ 2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2">
                        <a:moveTo>
                          <a:pt x="2" y="2"/>
                        </a:moveTo>
                        <a:cubicBezTo>
                          <a:pt x="6" y="2"/>
                          <a:pt x="6" y="2"/>
                          <a:pt x="6" y="2"/>
                        </a:cubicBezTo>
                        <a:cubicBezTo>
                          <a:pt x="7" y="2"/>
                          <a:pt x="8" y="2"/>
                          <a:pt x="8" y="1"/>
                        </a:cubicBezTo>
                        <a:cubicBezTo>
                          <a:pt x="8" y="0"/>
                          <a:pt x="7" y="0"/>
                          <a:pt x="6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0" y="0"/>
                          <a:pt x="0" y="0"/>
                          <a:pt x="0" y="1"/>
                        </a:cubicBezTo>
                        <a:cubicBezTo>
                          <a:pt x="0" y="2"/>
                          <a:pt x="0" y="2"/>
                          <a:pt x="2" y="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13" name="Freeform 32"/>
                  <p:cNvSpPr/>
                  <p:nvPr/>
                </p:nvSpPr>
                <p:spPr bwMode="auto">
                  <a:xfrm>
                    <a:off x="6145213" y="3335338"/>
                    <a:ext cx="30163" cy="7938"/>
                  </a:xfrm>
                  <a:custGeom>
                    <a:avLst/>
                    <a:gdLst>
                      <a:gd name="T0" fmla="*/ 2 w 8"/>
                      <a:gd name="T1" fmla="*/ 2 h 2"/>
                      <a:gd name="T2" fmla="*/ 6 w 8"/>
                      <a:gd name="T3" fmla="*/ 2 h 2"/>
                      <a:gd name="T4" fmla="*/ 8 w 8"/>
                      <a:gd name="T5" fmla="*/ 1 h 2"/>
                      <a:gd name="T6" fmla="*/ 6 w 8"/>
                      <a:gd name="T7" fmla="*/ 0 h 2"/>
                      <a:gd name="T8" fmla="*/ 2 w 8"/>
                      <a:gd name="T9" fmla="*/ 0 h 2"/>
                      <a:gd name="T10" fmla="*/ 0 w 8"/>
                      <a:gd name="T11" fmla="*/ 1 h 2"/>
                      <a:gd name="T12" fmla="*/ 2 w 8"/>
                      <a:gd name="T13" fmla="*/ 2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2">
                        <a:moveTo>
                          <a:pt x="2" y="2"/>
                        </a:moveTo>
                        <a:cubicBezTo>
                          <a:pt x="6" y="2"/>
                          <a:pt x="6" y="2"/>
                          <a:pt x="6" y="2"/>
                        </a:cubicBezTo>
                        <a:cubicBezTo>
                          <a:pt x="7" y="2"/>
                          <a:pt x="8" y="2"/>
                          <a:pt x="8" y="1"/>
                        </a:cubicBezTo>
                        <a:cubicBezTo>
                          <a:pt x="8" y="0"/>
                          <a:pt x="7" y="0"/>
                          <a:pt x="6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0" y="0"/>
                          <a:pt x="0" y="0"/>
                          <a:pt x="0" y="1"/>
                        </a:cubicBezTo>
                        <a:cubicBezTo>
                          <a:pt x="0" y="2"/>
                          <a:pt x="0" y="2"/>
                          <a:pt x="2" y="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14" name="Freeform 33"/>
                  <p:cNvSpPr/>
                  <p:nvPr/>
                </p:nvSpPr>
                <p:spPr bwMode="auto">
                  <a:xfrm>
                    <a:off x="6191251" y="3335338"/>
                    <a:ext cx="30163" cy="7938"/>
                  </a:xfrm>
                  <a:custGeom>
                    <a:avLst/>
                    <a:gdLst>
                      <a:gd name="T0" fmla="*/ 2 w 8"/>
                      <a:gd name="T1" fmla="*/ 2 h 2"/>
                      <a:gd name="T2" fmla="*/ 6 w 8"/>
                      <a:gd name="T3" fmla="*/ 2 h 2"/>
                      <a:gd name="T4" fmla="*/ 8 w 8"/>
                      <a:gd name="T5" fmla="*/ 1 h 2"/>
                      <a:gd name="T6" fmla="*/ 6 w 8"/>
                      <a:gd name="T7" fmla="*/ 0 h 2"/>
                      <a:gd name="T8" fmla="*/ 2 w 8"/>
                      <a:gd name="T9" fmla="*/ 0 h 2"/>
                      <a:gd name="T10" fmla="*/ 0 w 8"/>
                      <a:gd name="T11" fmla="*/ 1 h 2"/>
                      <a:gd name="T12" fmla="*/ 2 w 8"/>
                      <a:gd name="T13" fmla="*/ 2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2">
                        <a:moveTo>
                          <a:pt x="2" y="2"/>
                        </a:moveTo>
                        <a:cubicBezTo>
                          <a:pt x="6" y="2"/>
                          <a:pt x="6" y="2"/>
                          <a:pt x="6" y="2"/>
                        </a:cubicBezTo>
                        <a:cubicBezTo>
                          <a:pt x="7" y="2"/>
                          <a:pt x="8" y="2"/>
                          <a:pt x="8" y="1"/>
                        </a:cubicBezTo>
                        <a:cubicBezTo>
                          <a:pt x="8" y="0"/>
                          <a:pt x="7" y="0"/>
                          <a:pt x="6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0" y="0"/>
                          <a:pt x="0" y="0"/>
                          <a:pt x="0" y="1"/>
                        </a:cubicBezTo>
                        <a:cubicBezTo>
                          <a:pt x="0" y="2"/>
                          <a:pt x="0" y="2"/>
                          <a:pt x="2" y="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15" name="Freeform 34"/>
                  <p:cNvSpPr/>
                  <p:nvPr/>
                </p:nvSpPr>
                <p:spPr bwMode="auto">
                  <a:xfrm>
                    <a:off x="5815013" y="3427413"/>
                    <a:ext cx="212725" cy="152400"/>
                  </a:xfrm>
                  <a:custGeom>
                    <a:avLst/>
                    <a:gdLst>
                      <a:gd name="T0" fmla="*/ 52 w 56"/>
                      <a:gd name="T1" fmla="*/ 0 h 40"/>
                      <a:gd name="T2" fmla="*/ 4 w 56"/>
                      <a:gd name="T3" fmla="*/ 0 h 40"/>
                      <a:gd name="T4" fmla="*/ 0 w 56"/>
                      <a:gd name="T5" fmla="*/ 4 h 40"/>
                      <a:gd name="T6" fmla="*/ 0 w 56"/>
                      <a:gd name="T7" fmla="*/ 36 h 40"/>
                      <a:gd name="T8" fmla="*/ 4 w 56"/>
                      <a:gd name="T9" fmla="*/ 40 h 40"/>
                      <a:gd name="T10" fmla="*/ 52 w 56"/>
                      <a:gd name="T11" fmla="*/ 40 h 40"/>
                      <a:gd name="T12" fmla="*/ 56 w 56"/>
                      <a:gd name="T13" fmla="*/ 36 h 40"/>
                      <a:gd name="T14" fmla="*/ 56 w 56"/>
                      <a:gd name="T15" fmla="*/ 4 h 40"/>
                      <a:gd name="T16" fmla="*/ 52 w 56"/>
                      <a:gd name="T17" fmla="*/ 0 h 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56" h="40">
                        <a:moveTo>
                          <a:pt x="52" y="0"/>
                        </a:move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2" y="0"/>
                          <a:pt x="0" y="2"/>
                          <a:pt x="0" y="4"/>
                        </a:cubicBezTo>
                        <a:cubicBezTo>
                          <a:pt x="0" y="36"/>
                          <a:pt x="0" y="36"/>
                          <a:pt x="0" y="36"/>
                        </a:cubicBezTo>
                        <a:cubicBezTo>
                          <a:pt x="0" y="38"/>
                          <a:pt x="2" y="40"/>
                          <a:pt x="4" y="40"/>
                        </a:cubicBezTo>
                        <a:cubicBezTo>
                          <a:pt x="52" y="40"/>
                          <a:pt x="52" y="40"/>
                          <a:pt x="52" y="40"/>
                        </a:cubicBezTo>
                        <a:cubicBezTo>
                          <a:pt x="54" y="40"/>
                          <a:pt x="56" y="38"/>
                          <a:pt x="56" y="36"/>
                        </a:cubicBezTo>
                        <a:cubicBezTo>
                          <a:pt x="56" y="4"/>
                          <a:pt x="56" y="4"/>
                          <a:pt x="56" y="4"/>
                        </a:cubicBezTo>
                        <a:cubicBezTo>
                          <a:pt x="56" y="2"/>
                          <a:pt x="54" y="0"/>
                          <a:pt x="52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16" name="Freeform 36"/>
                  <p:cNvSpPr/>
                  <p:nvPr/>
                </p:nvSpPr>
                <p:spPr bwMode="auto">
                  <a:xfrm>
                    <a:off x="5791201" y="3660776"/>
                    <a:ext cx="30163" cy="11113"/>
                  </a:xfrm>
                  <a:custGeom>
                    <a:avLst/>
                    <a:gdLst>
                      <a:gd name="T0" fmla="*/ 6 w 8"/>
                      <a:gd name="T1" fmla="*/ 0 h 3"/>
                      <a:gd name="T2" fmla="*/ 2 w 8"/>
                      <a:gd name="T3" fmla="*/ 0 h 3"/>
                      <a:gd name="T4" fmla="*/ 0 w 8"/>
                      <a:gd name="T5" fmla="*/ 2 h 3"/>
                      <a:gd name="T6" fmla="*/ 2 w 8"/>
                      <a:gd name="T7" fmla="*/ 3 h 3"/>
                      <a:gd name="T8" fmla="*/ 6 w 8"/>
                      <a:gd name="T9" fmla="*/ 3 h 3"/>
                      <a:gd name="T10" fmla="*/ 8 w 8"/>
                      <a:gd name="T11" fmla="*/ 2 h 3"/>
                      <a:gd name="T12" fmla="*/ 6 w 8"/>
                      <a:gd name="T13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3">
                        <a:moveTo>
                          <a:pt x="6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3"/>
                          <a:pt x="2" y="3"/>
                        </a:cubicBezTo>
                        <a:cubicBezTo>
                          <a:pt x="6" y="3"/>
                          <a:pt x="6" y="3"/>
                          <a:pt x="6" y="3"/>
                        </a:cubicBezTo>
                        <a:cubicBezTo>
                          <a:pt x="7" y="3"/>
                          <a:pt x="8" y="3"/>
                          <a:pt x="8" y="2"/>
                        </a:cubicBezTo>
                        <a:cubicBezTo>
                          <a:pt x="8" y="1"/>
                          <a:pt x="7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17" name="Freeform 37"/>
                  <p:cNvSpPr/>
                  <p:nvPr/>
                </p:nvSpPr>
                <p:spPr bwMode="auto">
                  <a:xfrm>
                    <a:off x="5837238" y="3660776"/>
                    <a:ext cx="30163" cy="11113"/>
                  </a:xfrm>
                  <a:custGeom>
                    <a:avLst/>
                    <a:gdLst>
                      <a:gd name="T0" fmla="*/ 6 w 8"/>
                      <a:gd name="T1" fmla="*/ 0 h 3"/>
                      <a:gd name="T2" fmla="*/ 2 w 8"/>
                      <a:gd name="T3" fmla="*/ 0 h 3"/>
                      <a:gd name="T4" fmla="*/ 0 w 8"/>
                      <a:gd name="T5" fmla="*/ 2 h 3"/>
                      <a:gd name="T6" fmla="*/ 2 w 8"/>
                      <a:gd name="T7" fmla="*/ 3 h 3"/>
                      <a:gd name="T8" fmla="*/ 6 w 8"/>
                      <a:gd name="T9" fmla="*/ 3 h 3"/>
                      <a:gd name="T10" fmla="*/ 8 w 8"/>
                      <a:gd name="T11" fmla="*/ 2 h 3"/>
                      <a:gd name="T12" fmla="*/ 6 w 8"/>
                      <a:gd name="T13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3">
                        <a:moveTo>
                          <a:pt x="6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3"/>
                          <a:pt x="2" y="3"/>
                        </a:cubicBezTo>
                        <a:cubicBezTo>
                          <a:pt x="6" y="3"/>
                          <a:pt x="6" y="3"/>
                          <a:pt x="6" y="3"/>
                        </a:cubicBezTo>
                        <a:cubicBezTo>
                          <a:pt x="7" y="3"/>
                          <a:pt x="8" y="3"/>
                          <a:pt x="8" y="2"/>
                        </a:cubicBezTo>
                        <a:cubicBezTo>
                          <a:pt x="8" y="1"/>
                          <a:pt x="7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18" name="Freeform 38"/>
                  <p:cNvSpPr/>
                  <p:nvPr/>
                </p:nvSpPr>
                <p:spPr bwMode="auto">
                  <a:xfrm>
                    <a:off x="5883276" y="3660776"/>
                    <a:ext cx="30163" cy="11113"/>
                  </a:xfrm>
                  <a:custGeom>
                    <a:avLst/>
                    <a:gdLst>
                      <a:gd name="T0" fmla="*/ 6 w 8"/>
                      <a:gd name="T1" fmla="*/ 0 h 3"/>
                      <a:gd name="T2" fmla="*/ 2 w 8"/>
                      <a:gd name="T3" fmla="*/ 0 h 3"/>
                      <a:gd name="T4" fmla="*/ 0 w 8"/>
                      <a:gd name="T5" fmla="*/ 2 h 3"/>
                      <a:gd name="T6" fmla="*/ 2 w 8"/>
                      <a:gd name="T7" fmla="*/ 3 h 3"/>
                      <a:gd name="T8" fmla="*/ 6 w 8"/>
                      <a:gd name="T9" fmla="*/ 3 h 3"/>
                      <a:gd name="T10" fmla="*/ 8 w 8"/>
                      <a:gd name="T11" fmla="*/ 2 h 3"/>
                      <a:gd name="T12" fmla="*/ 6 w 8"/>
                      <a:gd name="T13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3">
                        <a:moveTo>
                          <a:pt x="6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3"/>
                          <a:pt x="2" y="3"/>
                        </a:cubicBezTo>
                        <a:cubicBezTo>
                          <a:pt x="6" y="3"/>
                          <a:pt x="6" y="3"/>
                          <a:pt x="6" y="3"/>
                        </a:cubicBezTo>
                        <a:cubicBezTo>
                          <a:pt x="7" y="3"/>
                          <a:pt x="8" y="3"/>
                          <a:pt x="8" y="2"/>
                        </a:cubicBezTo>
                        <a:cubicBezTo>
                          <a:pt x="8" y="1"/>
                          <a:pt x="7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19" name="Freeform 39"/>
                  <p:cNvSpPr/>
                  <p:nvPr/>
                </p:nvSpPr>
                <p:spPr bwMode="auto">
                  <a:xfrm>
                    <a:off x="5929313" y="3660776"/>
                    <a:ext cx="30163" cy="11113"/>
                  </a:xfrm>
                  <a:custGeom>
                    <a:avLst/>
                    <a:gdLst>
                      <a:gd name="T0" fmla="*/ 6 w 8"/>
                      <a:gd name="T1" fmla="*/ 0 h 3"/>
                      <a:gd name="T2" fmla="*/ 2 w 8"/>
                      <a:gd name="T3" fmla="*/ 0 h 3"/>
                      <a:gd name="T4" fmla="*/ 0 w 8"/>
                      <a:gd name="T5" fmla="*/ 2 h 3"/>
                      <a:gd name="T6" fmla="*/ 2 w 8"/>
                      <a:gd name="T7" fmla="*/ 3 h 3"/>
                      <a:gd name="T8" fmla="*/ 6 w 8"/>
                      <a:gd name="T9" fmla="*/ 3 h 3"/>
                      <a:gd name="T10" fmla="*/ 8 w 8"/>
                      <a:gd name="T11" fmla="*/ 2 h 3"/>
                      <a:gd name="T12" fmla="*/ 6 w 8"/>
                      <a:gd name="T13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3">
                        <a:moveTo>
                          <a:pt x="6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3"/>
                          <a:pt x="2" y="3"/>
                        </a:cubicBezTo>
                        <a:cubicBezTo>
                          <a:pt x="6" y="3"/>
                          <a:pt x="6" y="3"/>
                          <a:pt x="6" y="3"/>
                        </a:cubicBezTo>
                        <a:cubicBezTo>
                          <a:pt x="7" y="3"/>
                          <a:pt x="8" y="3"/>
                          <a:pt x="8" y="2"/>
                        </a:cubicBezTo>
                        <a:cubicBezTo>
                          <a:pt x="8" y="1"/>
                          <a:pt x="7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20" name="Freeform 40"/>
                  <p:cNvSpPr/>
                  <p:nvPr/>
                </p:nvSpPr>
                <p:spPr bwMode="auto">
                  <a:xfrm>
                    <a:off x="5973763" y="3660776"/>
                    <a:ext cx="30163" cy="11113"/>
                  </a:xfrm>
                  <a:custGeom>
                    <a:avLst/>
                    <a:gdLst>
                      <a:gd name="T0" fmla="*/ 6 w 8"/>
                      <a:gd name="T1" fmla="*/ 0 h 3"/>
                      <a:gd name="T2" fmla="*/ 2 w 8"/>
                      <a:gd name="T3" fmla="*/ 0 h 3"/>
                      <a:gd name="T4" fmla="*/ 0 w 8"/>
                      <a:gd name="T5" fmla="*/ 2 h 3"/>
                      <a:gd name="T6" fmla="*/ 2 w 8"/>
                      <a:gd name="T7" fmla="*/ 3 h 3"/>
                      <a:gd name="T8" fmla="*/ 6 w 8"/>
                      <a:gd name="T9" fmla="*/ 3 h 3"/>
                      <a:gd name="T10" fmla="*/ 8 w 8"/>
                      <a:gd name="T11" fmla="*/ 2 h 3"/>
                      <a:gd name="T12" fmla="*/ 6 w 8"/>
                      <a:gd name="T13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3">
                        <a:moveTo>
                          <a:pt x="6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3"/>
                          <a:pt x="2" y="3"/>
                        </a:cubicBezTo>
                        <a:cubicBezTo>
                          <a:pt x="6" y="3"/>
                          <a:pt x="6" y="3"/>
                          <a:pt x="6" y="3"/>
                        </a:cubicBezTo>
                        <a:cubicBezTo>
                          <a:pt x="7" y="3"/>
                          <a:pt x="8" y="3"/>
                          <a:pt x="8" y="2"/>
                        </a:cubicBezTo>
                        <a:cubicBezTo>
                          <a:pt x="8" y="1"/>
                          <a:pt x="7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21" name="Freeform 41"/>
                  <p:cNvSpPr/>
                  <p:nvPr/>
                </p:nvSpPr>
                <p:spPr bwMode="auto">
                  <a:xfrm>
                    <a:off x="6019801" y="3660776"/>
                    <a:ext cx="30163" cy="11113"/>
                  </a:xfrm>
                  <a:custGeom>
                    <a:avLst/>
                    <a:gdLst>
                      <a:gd name="T0" fmla="*/ 6 w 8"/>
                      <a:gd name="T1" fmla="*/ 0 h 3"/>
                      <a:gd name="T2" fmla="*/ 2 w 8"/>
                      <a:gd name="T3" fmla="*/ 0 h 3"/>
                      <a:gd name="T4" fmla="*/ 0 w 8"/>
                      <a:gd name="T5" fmla="*/ 2 h 3"/>
                      <a:gd name="T6" fmla="*/ 2 w 8"/>
                      <a:gd name="T7" fmla="*/ 3 h 3"/>
                      <a:gd name="T8" fmla="*/ 6 w 8"/>
                      <a:gd name="T9" fmla="*/ 3 h 3"/>
                      <a:gd name="T10" fmla="*/ 8 w 8"/>
                      <a:gd name="T11" fmla="*/ 2 h 3"/>
                      <a:gd name="T12" fmla="*/ 6 w 8"/>
                      <a:gd name="T13" fmla="*/ 0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3">
                        <a:moveTo>
                          <a:pt x="6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3"/>
                          <a:pt x="1" y="3"/>
                          <a:pt x="2" y="3"/>
                        </a:cubicBezTo>
                        <a:cubicBezTo>
                          <a:pt x="6" y="3"/>
                          <a:pt x="6" y="3"/>
                          <a:pt x="6" y="3"/>
                        </a:cubicBezTo>
                        <a:cubicBezTo>
                          <a:pt x="7" y="3"/>
                          <a:pt x="8" y="3"/>
                          <a:pt x="8" y="2"/>
                        </a:cubicBezTo>
                        <a:cubicBezTo>
                          <a:pt x="8" y="1"/>
                          <a:pt x="7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22" name="Freeform 42"/>
                  <p:cNvSpPr/>
                  <p:nvPr/>
                </p:nvSpPr>
                <p:spPr bwMode="auto">
                  <a:xfrm>
                    <a:off x="5815013" y="3644901"/>
                    <a:ext cx="30163" cy="11113"/>
                  </a:xfrm>
                  <a:custGeom>
                    <a:avLst/>
                    <a:gdLst>
                      <a:gd name="T0" fmla="*/ 2 w 8"/>
                      <a:gd name="T1" fmla="*/ 3 h 3"/>
                      <a:gd name="T2" fmla="*/ 6 w 8"/>
                      <a:gd name="T3" fmla="*/ 3 h 3"/>
                      <a:gd name="T4" fmla="*/ 8 w 8"/>
                      <a:gd name="T5" fmla="*/ 2 h 3"/>
                      <a:gd name="T6" fmla="*/ 6 w 8"/>
                      <a:gd name="T7" fmla="*/ 0 h 3"/>
                      <a:gd name="T8" fmla="*/ 2 w 8"/>
                      <a:gd name="T9" fmla="*/ 0 h 3"/>
                      <a:gd name="T10" fmla="*/ 0 w 8"/>
                      <a:gd name="T11" fmla="*/ 2 h 3"/>
                      <a:gd name="T12" fmla="*/ 2 w 8"/>
                      <a:gd name="T13" fmla="*/ 3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3">
                        <a:moveTo>
                          <a:pt x="2" y="3"/>
                        </a:moveTo>
                        <a:cubicBezTo>
                          <a:pt x="6" y="3"/>
                          <a:pt x="6" y="3"/>
                          <a:pt x="6" y="3"/>
                        </a:cubicBezTo>
                        <a:cubicBezTo>
                          <a:pt x="7" y="3"/>
                          <a:pt x="8" y="2"/>
                          <a:pt x="8" y="2"/>
                        </a:cubicBezTo>
                        <a:cubicBezTo>
                          <a:pt x="8" y="1"/>
                          <a:pt x="7" y="0"/>
                          <a:pt x="6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2"/>
                          <a:pt x="1" y="3"/>
                          <a:pt x="2" y="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23" name="Freeform 43"/>
                  <p:cNvSpPr/>
                  <p:nvPr/>
                </p:nvSpPr>
                <p:spPr bwMode="auto">
                  <a:xfrm>
                    <a:off x="5859463" y="3644901"/>
                    <a:ext cx="31750" cy="11113"/>
                  </a:xfrm>
                  <a:custGeom>
                    <a:avLst/>
                    <a:gdLst>
                      <a:gd name="T0" fmla="*/ 2 w 8"/>
                      <a:gd name="T1" fmla="*/ 3 h 3"/>
                      <a:gd name="T2" fmla="*/ 6 w 8"/>
                      <a:gd name="T3" fmla="*/ 3 h 3"/>
                      <a:gd name="T4" fmla="*/ 8 w 8"/>
                      <a:gd name="T5" fmla="*/ 2 h 3"/>
                      <a:gd name="T6" fmla="*/ 6 w 8"/>
                      <a:gd name="T7" fmla="*/ 0 h 3"/>
                      <a:gd name="T8" fmla="*/ 2 w 8"/>
                      <a:gd name="T9" fmla="*/ 0 h 3"/>
                      <a:gd name="T10" fmla="*/ 0 w 8"/>
                      <a:gd name="T11" fmla="*/ 2 h 3"/>
                      <a:gd name="T12" fmla="*/ 2 w 8"/>
                      <a:gd name="T13" fmla="*/ 3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3">
                        <a:moveTo>
                          <a:pt x="2" y="3"/>
                        </a:moveTo>
                        <a:cubicBezTo>
                          <a:pt x="6" y="3"/>
                          <a:pt x="6" y="3"/>
                          <a:pt x="6" y="3"/>
                        </a:cubicBezTo>
                        <a:cubicBezTo>
                          <a:pt x="7" y="3"/>
                          <a:pt x="8" y="2"/>
                          <a:pt x="8" y="2"/>
                        </a:cubicBezTo>
                        <a:cubicBezTo>
                          <a:pt x="8" y="1"/>
                          <a:pt x="7" y="0"/>
                          <a:pt x="6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2"/>
                          <a:pt x="1" y="3"/>
                          <a:pt x="2" y="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24" name="Freeform 44"/>
                  <p:cNvSpPr/>
                  <p:nvPr/>
                </p:nvSpPr>
                <p:spPr bwMode="auto">
                  <a:xfrm>
                    <a:off x="5905501" y="3644901"/>
                    <a:ext cx="30163" cy="11113"/>
                  </a:xfrm>
                  <a:custGeom>
                    <a:avLst/>
                    <a:gdLst>
                      <a:gd name="T0" fmla="*/ 2 w 8"/>
                      <a:gd name="T1" fmla="*/ 3 h 3"/>
                      <a:gd name="T2" fmla="*/ 6 w 8"/>
                      <a:gd name="T3" fmla="*/ 3 h 3"/>
                      <a:gd name="T4" fmla="*/ 8 w 8"/>
                      <a:gd name="T5" fmla="*/ 2 h 3"/>
                      <a:gd name="T6" fmla="*/ 6 w 8"/>
                      <a:gd name="T7" fmla="*/ 0 h 3"/>
                      <a:gd name="T8" fmla="*/ 2 w 8"/>
                      <a:gd name="T9" fmla="*/ 0 h 3"/>
                      <a:gd name="T10" fmla="*/ 0 w 8"/>
                      <a:gd name="T11" fmla="*/ 2 h 3"/>
                      <a:gd name="T12" fmla="*/ 2 w 8"/>
                      <a:gd name="T13" fmla="*/ 3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3">
                        <a:moveTo>
                          <a:pt x="2" y="3"/>
                        </a:moveTo>
                        <a:cubicBezTo>
                          <a:pt x="6" y="3"/>
                          <a:pt x="6" y="3"/>
                          <a:pt x="6" y="3"/>
                        </a:cubicBezTo>
                        <a:cubicBezTo>
                          <a:pt x="7" y="3"/>
                          <a:pt x="8" y="2"/>
                          <a:pt x="8" y="2"/>
                        </a:cubicBezTo>
                        <a:cubicBezTo>
                          <a:pt x="8" y="1"/>
                          <a:pt x="7" y="0"/>
                          <a:pt x="6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2"/>
                          <a:pt x="1" y="3"/>
                          <a:pt x="2" y="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25" name="Freeform 45"/>
                  <p:cNvSpPr/>
                  <p:nvPr/>
                </p:nvSpPr>
                <p:spPr bwMode="auto">
                  <a:xfrm>
                    <a:off x="5951538" y="3644901"/>
                    <a:ext cx="30163" cy="11113"/>
                  </a:xfrm>
                  <a:custGeom>
                    <a:avLst/>
                    <a:gdLst>
                      <a:gd name="T0" fmla="*/ 2 w 8"/>
                      <a:gd name="T1" fmla="*/ 3 h 3"/>
                      <a:gd name="T2" fmla="*/ 6 w 8"/>
                      <a:gd name="T3" fmla="*/ 3 h 3"/>
                      <a:gd name="T4" fmla="*/ 8 w 8"/>
                      <a:gd name="T5" fmla="*/ 2 h 3"/>
                      <a:gd name="T6" fmla="*/ 6 w 8"/>
                      <a:gd name="T7" fmla="*/ 0 h 3"/>
                      <a:gd name="T8" fmla="*/ 2 w 8"/>
                      <a:gd name="T9" fmla="*/ 0 h 3"/>
                      <a:gd name="T10" fmla="*/ 0 w 8"/>
                      <a:gd name="T11" fmla="*/ 2 h 3"/>
                      <a:gd name="T12" fmla="*/ 2 w 8"/>
                      <a:gd name="T13" fmla="*/ 3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3">
                        <a:moveTo>
                          <a:pt x="2" y="3"/>
                        </a:moveTo>
                        <a:cubicBezTo>
                          <a:pt x="6" y="3"/>
                          <a:pt x="6" y="3"/>
                          <a:pt x="6" y="3"/>
                        </a:cubicBezTo>
                        <a:cubicBezTo>
                          <a:pt x="7" y="3"/>
                          <a:pt x="8" y="2"/>
                          <a:pt x="8" y="2"/>
                        </a:cubicBezTo>
                        <a:cubicBezTo>
                          <a:pt x="8" y="1"/>
                          <a:pt x="7" y="0"/>
                          <a:pt x="6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2"/>
                          <a:pt x="1" y="3"/>
                          <a:pt x="2" y="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26" name="Freeform 46"/>
                  <p:cNvSpPr/>
                  <p:nvPr/>
                </p:nvSpPr>
                <p:spPr bwMode="auto">
                  <a:xfrm>
                    <a:off x="5997576" y="3644901"/>
                    <a:ext cx="30163" cy="11113"/>
                  </a:xfrm>
                  <a:custGeom>
                    <a:avLst/>
                    <a:gdLst>
                      <a:gd name="T0" fmla="*/ 2 w 8"/>
                      <a:gd name="T1" fmla="*/ 3 h 3"/>
                      <a:gd name="T2" fmla="*/ 6 w 8"/>
                      <a:gd name="T3" fmla="*/ 3 h 3"/>
                      <a:gd name="T4" fmla="*/ 8 w 8"/>
                      <a:gd name="T5" fmla="*/ 2 h 3"/>
                      <a:gd name="T6" fmla="*/ 6 w 8"/>
                      <a:gd name="T7" fmla="*/ 0 h 3"/>
                      <a:gd name="T8" fmla="*/ 2 w 8"/>
                      <a:gd name="T9" fmla="*/ 0 h 3"/>
                      <a:gd name="T10" fmla="*/ 0 w 8"/>
                      <a:gd name="T11" fmla="*/ 2 h 3"/>
                      <a:gd name="T12" fmla="*/ 2 w 8"/>
                      <a:gd name="T13" fmla="*/ 3 h 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3">
                        <a:moveTo>
                          <a:pt x="2" y="3"/>
                        </a:moveTo>
                        <a:cubicBezTo>
                          <a:pt x="6" y="3"/>
                          <a:pt x="6" y="3"/>
                          <a:pt x="6" y="3"/>
                        </a:cubicBezTo>
                        <a:cubicBezTo>
                          <a:pt x="7" y="3"/>
                          <a:pt x="8" y="2"/>
                          <a:pt x="8" y="2"/>
                        </a:cubicBezTo>
                        <a:cubicBezTo>
                          <a:pt x="8" y="1"/>
                          <a:pt x="7" y="0"/>
                          <a:pt x="6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1"/>
                          <a:pt x="0" y="2"/>
                        </a:cubicBezTo>
                        <a:cubicBezTo>
                          <a:pt x="0" y="2"/>
                          <a:pt x="1" y="3"/>
                          <a:pt x="2" y="3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27" name="Freeform 47"/>
                  <p:cNvSpPr/>
                  <p:nvPr/>
                </p:nvSpPr>
                <p:spPr bwMode="auto">
                  <a:xfrm>
                    <a:off x="6164263" y="3500438"/>
                    <a:ext cx="212725" cy="152400"/>
                  </a:xfrm>
                  <a:custGeom>
                    <a:avLst/>
                    <a:gdLst>
                      <a:gd name="T0" fmla="*/ 52 w 56"/>
                      <a:gd name="T1" fmla="*/ 0 h 40"/>
                      <a:gd name="T2" fmla="*/ 4 w 56"/>
                      <a:gd name="T3" fmla="*/ 0 h 40"/>
                      <a:gd name="T4" fmla="*/ 0 w 56"/>
                      <a:gd name="T5" fmla="*/ 5 h 40"/>
                      <a:gd name="T6" fmla="*/ 0 w 56"/>
                      <a:gd name="T7" fmla="*/ 36 h 40"/>
                      <a:gd name="T8" fmla="*/ 4 w 56"/>
                      <a:gd name="T9" fmla="*/ 40 h 40"/>
                      <a:gd name="T10" fmla="*/ 52 w 56"/>
                      <a:gd name="T11" fmla="*/ 40 h 40"/>
                      <a:gd name="T12" fmla="*/ 56 w 56"/>
                      <a:gd name="T13" fmla="*/ 36 h 40"/>
                      <a:gd name="T14" fmla="*/ 56 w 56"/>
                      <a:gd name="T15" fmla="*/ 5 h 40"/>
                      <a:gd name="T16" fmla="*/ 52 w 56"/>
                      <a:gd name="T17" fmla="*/ 0 h 4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56" h="40">
                        <a:moveTo>
                          <a:pt x="52" y="0"/>
                        </a:moveTo>
                        <a:cubicBezTo>
                          <a:pt x="4" y="0"/>
                          <a:pt x="4" y="0"/>
                          <a:pt x="4" y="0"/>
                        </a:cubicBezTo>
                        <a:cubicBezTo>
                          <a:pt x="2" y="0"/>
                          <a:pt x="0" y="2"/>
                          <a:pt x="0" y="5"/>
                        </a:cubicBezTo>
                        <a:cubicBezTo>
                          <a:pt x="0" y="36"/>
                          <a:pt x="0" y="36"/>
                          <a:pt x="0" y="36"/>
                        </a:cubicBezTo>
                        <a:cubicBezTo>
                          <a:pt x="0" y="38"/>
                          <a:pt x="2" y="40"/>
                          <a:pt x="4" y="40"/>
                        </a:cubicBezTo>
                        <a:cubicBezTo>
                          <a:pt x="52" y="40"/>
                          <a:pt x="52" y="40"/>
                          <a:pt x="52" y="40"/>
                        </a:cubicBezTo>
                        <a:cubicBezTo>
                          <a:pt x="54" y="40"/>
                          <a:pt x="56" y="38"/>
                          <a:pt x="56" y="36"/>
                        </a:cubicBezTo>
                        <a:cubicBezTo>
                          <a:pt x="56" y="5"/>
                          <a:pt x="56" y="5"/>
                          <a:pt x="56" y="5"/>
                        </a:cubicBezTo>
                        <a:cubicBezTo>
                          <a:pt x="56" y="2"/>
                          <a:pt x="54" y="0"/>
                          <a:pt x="52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28" name="Freeform 48"/>
                  <p:cNvSpPr>
                    <a:spLocks noEditPoints="1"/>
                  </p:cNvSpPr>
                  <p:nvPr/>
                </p:nvSpPr>
                <p:spPr bwMode="auto">
                  <a:xfrm>
                    <a:off x="5935663" y="3090863"/>
                    <a:ext cx="511175" cy="681038"/>
                  </a:xfrm>
                  <a:custGeom>
                    <a:avLst/>
                    <a:gdLst>
                      <a:gd name="T0" fmla="*/ 127 w 134"/>
                      <a:gd name="T1" fmla="*/ 163 h 178"/>
                      <a:gd name="T2" fmla="*/ 121 w 134"/>
                      <a:gd name="T3" fmla="*/ 156 h 178"/>
                      <a:gd name="T4" fmla="*/ 111 w 134"/>
                      <a:gd name="T5" fmla="*/ 153 h 178"/>
                      <a:gd name="T6" fmla="*/ 122 w 134"/>
                      <a:gd name="T7" fmla="*/ 149 h 178"/>
                      <a:gd name="T8" fmla="*/ 117 w 134"/>
                      <a:gd name="T9" fmla="*/ 101 h 178"/>
                      <a:gd name="T10" fmla="*/ 54 w 134"/>
                      <a:gd name="T11" fmla="*/ 105 h 178"/>
                      <a:gd name="T12" fmla="*/ 46 w 134"/>
                      <a:gd name="T13" fmla="*/ 112 h 178"/>
                      <a:gd name="T14" fmla="*/ 89 w 134"/>
                      <a:gd name="T15" fmla="*/ 77 h 178"/>
                      <a:gd name="T16" fmla="*/ 90 w 134"/>
                      <a:gd name="T17" fmla="*/ 66 h 178"/>
                      <a:gd name="T18" fmla="*/ 83 w 134"/>
                      <a:gd name="T19" fmla="*/ 62 h 178"/>
                      <a:gd name="T20" fmla="*/ 70 w 134"/>
                      <a:gd name="T21" fmla="*/ 55 h 178"/>
                      <a:gd name="T22" fmla="*/ 76 w 134"/>
                      <a:gd name="T23" fmla="*/ 53 h 178"/>
                      <a:gd name="T24" fmla="*/ 81 w 134"/>
                      <a:gd name="T25" fmla="*/ 4 h 178"/>
                      <a:gd name="T26" fmla="*/ 17 w 134"/>
                      <a:gd name="T27" fmla="*/ 0 h 178"/>
                      <a:gd name="T28" fmla="*/ 13 w 134"/>
                      <a:gd name="T29" fmla="*/ 49 h 178"/>
                      <a:gd name="T30" fmla="*/ 24 w 134"/>
                      <a:gd name="T31" fmla="*/ 53 h 178"/>
                      <a:gd name="T32" fmla="*/ 14 w 134"/>
                      <a:gd name="T33" fmla="*/ 55 h 178"/>
                      <a:gd name="T34" fmla="*/ 8 w 134"/>
                      <a:gd name="T35" fmla="*/ 62 h 178"/>
                      <a:gd name="T36" fmla="*/ 0 w 134"/>
                      <a:gd name="T37" fmla="*/ 73 h 178"/>
                      <a:gd name="T38" fmla="*/ 41 w 134"/>
                      <a:gd name="T39" fmla="*/ 77 h 178"/>
                      <a:gd name="T40" fmla="*/ 30 w 134"/>
                      <a:gd name="T41" fmla="*/ 112 h 178"/>
                      <a:gd name="T42" fmla="*/ 54 w 134"/>
                      <a:gd name="T43" fmla="*/ 116 h 178"/>
                      <a:gd name="T44" fmla="*/ 59 w 134"/>
                      <a:gd name="T45" fmla="*/ 153 h 178"/>
                      <a:gd name="T46" fmla="*/ 65 w 134"/>
                      <a:gd name="T47" fmla="*/ 156 h 178"/>
                      <a:gd name="T48" fmla="*/ 52 w 134"/>
                      <a:gd name="T49" fmla="*/ 163 h 178"/>
                      <a:gd name="T50" fmla="*/ 45 w 134"/>
                      <a:gd name="T51" fmla="*/ 167 h 178"/>
                      <a:gd name="T52" fmla="*/ 46 w 134"/>
                      <a:gd name="T53" fmla="*/ 178 h 178"/>
                      <a:gd name="T54" fmla="*/ 134 w 134"/>
                      <a:gd name="T55" fmla="*/ 173 h 178"/>
                      <a:gd name="T56" fmla="*/ 17 w 134"/>
                      <a:gd name="T57" fmla="*/ 50 h 178"/>
                      <a:gd name="T58" fmla="*/ 15 w 134"/>
                      <a:gd name="T59" fmla="*/ 4 h 178"/>
                      <a:gd name="T60" fmla="*/ 76 w 134"/>
                      <a:gd name="T61" fmla="*/ 3 h 178"/>
                      <a:gd name="T62" fmla="*/ 78 w 134"/>
                      <a:gd name="T63" fmla="*/ 49 h 178"/>
                      <a:gd name="T64" fmla="*/ 17 w 134"/>
                      <a:gd name="T65" fmla="*/ 50 h 178"/>
                      <a:gd name="T66" fmla="*/ 6 w 134"/>
                      <a:gd name="T67" fmla="*/ 67 h 178"/>
                      <a:gd name="T68" fmla="*/ 8 w 134"/>
                      <a:gd name="T69" fmla="*/ 64 h 178"/>
                      <a:gd name="T70" fmla="*/ 15 w 134"/>
                      <a:gd name="T71" fmla="*/ 58 h 178"/>
                      <a:gd name="T72" fmla="*/ 26 w 134"/>
                      <a:gd name="T73" fmla="*/ 54 h 178"/>
                      <a:gd name="T74" fmla="*/ 67 w 134"/>
                      <a:gd name="T75" fmla="*/ 58 h 178"/>
                      <a:gd name="T76" fmla="*/ 81 w 134"/>
                      <a:gd name="T77" fmla="*/ 64 h 178"/>
                      <a:gd name="T78" fmla="*/ 88 w 134"/>
                      <a:gd name="T79" fmla="*/ 66 h 178"/>
                      <a:gd name="T80" fmla="*/ 91 w 134"/>
                      <a:gd name="T81" fmla="*/ 73 h 178"/>
                      <a:gd name="T82" fmla="*/ 5 w 134"/>
                      <a:gd name="T83" fmla="*/ 74 h 178"/>
                      <a:gd name="T84" fmla="*/ 59 w 134"/>
                      <a:gd name="T85" fmla="*/ 151 h 178"/>
                      <a:gd name="T86" fmla="*/ 57 w 134"/>
                      <a:gd name="T87" fmla="*/ 105 h 178"/>
                      <a:gd name="T88" fmla="*/ 117 w 134"/>
                      <a:gd name="T89" fmla="*/ 104 h 178"/>
                      <a:gd name="T90" fmla="*/ 119 w 134"/>
                      <a:gd name="T91" fmla="*/ 149 h 178"/>
                      <a:gd name="T92" fmla="*/ 59 w 134"/>
                      <a:gd name="T93" fmla="*/ 151 h 178"/>
                      <a:gd name="T94" fmla="*/ 46 w 134"/>
                      <a:gd name="T95" fmla="*/ 175 h 178"/>
                      <a:gd name="T96" fmla="*/ 47 w 134"/>
                      <a:gd name="T97" fmla="*/ 167 h 178"/>
                      <a:gd name="T98" fmla="*/ 49 w 134"/>
                      <a:gd name="T99" fmla="*/ 165 h 178"/>
                      <a:gd name="T100" fmla="*/ 57 w 134"/>
                      <a:gd name="T101" fmla="*/ 159 h 178"/>
                      <a:gd name="T102" fmla="*/ 68 w 134"/>
                      <a:gd name="T103" fmla="*/ 155 h 178"/>
                      <a:gd name="T104" fmla="*/ 108 w 134"/>
                      <a:gd name="T105" fmla="*/ 159 h 178"/>
                      <a:gd name="T106" fmla="*/ 122 w 134"/>
                      <a:gd name="T107" fmla="*/ 165 h 178"/>
                      <a:gd name="T108" fmla="*/ 129 w 134"/>
                      <a:gd name="T109" fmla="*/ 167 h 178"/>
                      <a:gd name="T110" fmla="*/ 132 w 134"/>
                      <a:gd name="T111" fmla="*/ 174 h 17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134" h="178">
                        <a:moveTo>
                          <a:pt x="131" y="167"/>
                        </a:moveTo>
                        <a:cubicBezTo>
                          <a:pt x="131" y="165"/>
                          <a:pt x="130" y="163"/>
                          <a:pt x="127" y="163"/>
                        </a:cubicBezTo>
                        <a:cubicBezTo>
                          <a:pt x="124" y="163"/>
                          <a:pt x="124" y="163"/>
                          <a:pt x="124" y="163"/>
                        </a:cubicBezTo>
                        <a:cubicBezTo>
                          <a:pt x="121" y="156"/>
                          <a:pt x="121" y="156"/>
                          <a:pt x="121" y="156"/>
                        </a:cubicBezTo>
                        <a:cubicBezTo>
                          <a:pt x="111" y="156"/>
                          <a:pt x="111" y="156"/>
                          <a:pt x="111" y="156"/>
                        </a:cubicBezTo>
                        <a:cubicBezTo>
                          <a:pt x="111" y="153"/>
                          <a:pt x="111" y="153"/>
                          <a:pt x="111" y="153"/>
                        </a:cubicBezTo>
                        <a:cubicBezTo>
                          <a:pt x="117" y="153"/>
                          <a:pt x="117" y="153"/>
                          <a:pt x="117" y="153"/>
                        </a:cubicBezTo>
                        <a:cubicBezTo>
                          <a:pt x="120" y="153"/>
                          <a:pt x="122" y="152"/>
                          <a:pt x="122" y="149"/>
                        </a:cubicBezTo>
                        <a:cubicBezTo>
                          <a:pt x="122" y="105"/>
                          <a:pt x="122" y="105"/>
                          <a:pt x="122" y="105"/>
                        </a:cubicBezTo>
                        <a:cubicBezTo>
                          <a:pt x="122" y="103"/>
                          <a:pt x="120" y="101"/>
                          <a:pt x="117" y="101"/>
                        </a:cubicBezTo>
                        <a:cubicBezTo>
                          <a:pt x="59" y="101"/>
                          <a:pt x="59" y="101"/>
                          <a:pt x="59" y="101"/>
                        </a:cubicBezTo>
                        <a:cubicBezTo>
                          <a:pt x="56" y="101"/>
                          <a:pt x="54" y="103"/>
                          <a:pt x="54" y="105"/>
                        </a:cubicBezTo>
                        <a:cubicBezTo>
                          <a:pt x="54" y="112"/>
                          <a:pt x="54" y="112"/>
                          <a:pt x="54" y="112"/>
                        </a:cubicBezTo>
                        <a:cubicBezTo>
                          <a:pt x="46" y="112"/>
                          <a:pt x="46" y="112"/>
                          <a:pt x="46" y="112"/>
                        </a:cubicBezTo>
                        <a:cubicBezTo>
                          <a:pt x="46" y="77"/>
                          <a:pt x="46" y="77"/>
                          <a:pt x="46" y="77"/>
                        </a:cubicBezTo>
                        <a:cubicBezTo>
                          <a:pt x="89" y="77"/>
                          <a:pt x="89" y="77"/>
                          <a:pt x="89" y="77"/>
                        </a:cubicBezTo>
                        <a:cubicBezTo>
                          <a:pt x="91" y="77"/>
                          <a:pt x="93" y="75"/>
                          <a:pt x="93" y="73"/>
                        </a:cubicBezTo>
                        <a:cubicBezTo>
                          <a:pt x="90" y="66"/>
                          <a:pt x="90" y="66"/>
                          <a:pt x="90" y="66"/>
                        </a:cubicBezTo>
                        <a:cubicBezTo>
                          <a:pt x="90" y="64"/>
                          <a:pt x="88" y="62"/>
                          <a:pt x="86" y="62"/>
                        </a:cubicBezTo>
                        <a:cubicBezTo>
                          <a:pt x="83" y="62"/>
                          <a:pt x="83" y="62"/>
                          <a:pt x="83" y="62"/>
                        </a:cubicBezTo>
                        <a:cubicBezTo>
                          <a:pt x="80" y="55"/>
                          <a:pt x="80" y="55"/>
                          <a:pt x="80" y="55"/>
                        </a:cubicBezTo>
                        <a:cubicBezTo>
                          <a:pt x="70" y="55"/>
                          <a:pt x="70" y="55"/>
                          <a:pt x="70" y="55"/>
                        </a:cubicBezTo>
                        <a:cubicBezTo>
                          <a:pt x="70" y="53"/>
                          <a:pt x="70" y="53"/>
                          <a:pt x="70" y="53"/>
                        </a:cubicBezTo>
                        <a:cubicBezTo>
                          <a:pt x="76" y="53"/>
                          <a:pt x="76" y="53"/>
                          <a:pt x="76" y="53"/>
                        </a:cubicBezTo>
                        <a:cubicBezTo>
                          <a:pt x="79" y="53"/>
                          <a:pt x="81" y="51"/>
                          <a:pt x="81" y="49"/>
                        </a:cubicBezTo>
                        <a:cubicBezTo>
                          <a:pt x="81" y="4"/>
                          <a:pt x="81" y="4"/>
                          <a:pt x="81" y="4"/>
                        </a:cubicBezTo>
                        <a:cubicBezTo>
                          <a:pt x="81" y="2"/>
                          <a:pt x="79" y="0"/>
                          <a:pt x="76" y="0"/>
                        </a:cubicBezTo>
                        <a:cubicBezTo>
                          <a:pt x="17" y="0"/>
                          <a:pt x="17" y="0"/>
                          <a:pt x="17" y="0"/>
                        </a:cubicBezTo>
                        <a:cubicBezTo>
                          <a:pt x="15" y="0"/>
                          <a:pt x="13" y="2"/>
                          <a:pt x="13" y="4"/>
                        </a:cubicBezTo>
                        <a:cubicBezTo>
                          <a:pt x="13" y="49"/>
                          <a:pt x="13" y="49"/>
                          <a:pt x="13" y="49"/>
                        </a:cubicBezTo>
                        <a:cubicBezTo>
                          <a:pt x="13" y="51"/>
                          <a:pt x="15" y="53"/>
                          <a:pt x="17" y="53"/>
                        </a:cubicBezTo>
                        <a:cubicBezTo>
                          <a:pt x="24" y="53"/>
                          <a:pt x="24" y="53"/>
                          <a:pt x="24" y="53"/>
                        </a:cubicBezTo>
                        <a:cubicBezTo>
                          <a:pt x="24" y="55"/>
                          <a:pt x="24" y="55"/>
                          <a:pt x="24" y="55"/>
                        </a:cubicBezTo>
                        <a:cubicBezTo>
                          <a:pt x="14" y="55"/>
                          <a:pt x="14" y="55"/>
                          <a:pt x="14" y="55"/>
                        </a:cubicBezTo>
                        <a:cubicBezTo>
                          <a:pt x="11" y="62"/>
                          <a:pt x="11" y="62"/>
                          <a:pt x="11" y="62"/>
                        </a:cubicBezTo>
                        <a:cubicBezTo>
                          <a:pt x="8" y="62"/>
                          <a:pt x="8" y="62"/>
                          <a:pt x="8" y="62"/>
                        </a:cubicBezTo>
                        <a:cubicBezTo>
                          <a:pt x="5" y="62"/>
                          <a:pt x="3" y="64"/>
                          <a:pt x="3" y="66"/>
                        </a:cubicBezTo>
                        <a:cubicBezTo>
                          <a:pt x="0" y="73"/>
                          <a:pt x="0" y="73"/>
                          <a:pt x="0" y="73"/>
                        </a:cubicBezTo>
                        <a:cubicBezTo>
                          <a:pt x="0" y="75"/>
                          <a:pt x="2" y="77"/>
                          <a:pt x="5" y="77"/>
                        </a:cubicBezTo>
                        <a:cubicBezTo>
                          <a:pt x="41" y="77"/>
                          <a:pt x="41" y="77"/>
                          <a:pt x="41" y="77"/>
                        </a:cubicBezTo>
                        <a:cubicBezTo>
                          <a:pt x="41" y="112"/>
                          <a:pt x="41" y="112"/>
                          <a:pt x="41" y="112"/>
                        </a:cubicBezTo>
                        <a:cubicBezTo>
                          <a:pt x="30" y="112"/>
                          <a:pt x="30" y="112"/>
                          <a:pt x="30" y="112"/>
                        </a:cubicBezTo>
                        <a:cubicBezTo>
                          <a:pt x="30" y="116"/>
                          <a:pt x="30" y="116"/>
                          <a:pt x="30" y="116"/>
                        </a:cubicBezTo>
                        <a:cubicBezTo>
                          <a:pt x="54" y="116"/>
                          <a:pt x="54" y="116"/>
                          <a:pt x="54" y="116"/>
                        </a:cubicBezTo>
                        <a:cubicBezTo>
                          <a:pt x="54" y="149"/>
                          <a:pt x="54" y="149"/>
                          <a:pt x="54" y="149"/>
                        </a:cubicBezTo>
                        <a:cubicBezTo>
                          <a:pt x="54" y="152"/>
                          <a:pt x="56" y="153"/>
                          <a:pt x="59" y="153"/>
                        </a:cubicBezTo>
                        <a:cubicBezTo>
                          <a:pt x="65" y="153"/>
                          <a:pt x="65" y="153"/>
                          <a:pt x="65" y="153"/>
                        </a:cubicBezTo>
                        <a:cubicBezTo>
                          <a:pt x="65" y="156"/>
                          <a:pt x="65" y="156"/>
                          <a:pt x="65" y="156"/>
                        </a:cubicBezTo>
                        <a:cubicBezTo>
                          <a:pt x="55" y="156"/>
                          <a:pt x="55" y="156"/>
                          <a:pt x="55" y="156"/>
                        </a:cubicBezTo>
                        <a:cubicBezTo>
                          <a:pt x="52" y="163"/>
                          <a:pt x="52" y="163"/>
                          <a:pt x="52" y="163"/>
                        </a:cubicBezTo>
                        <a:cubicBezTo>
                          <a:pt x="49" y="163"/>
                          <a:pt x="49" y="163"/>
                          <a:pt x="49" y="163"/>
                        </a:cubicBezTo>
                        <a:cubicBezTo>
                          <a:pt x="46" y="163"/>
                          <a:pt x="45" y="165"/>
                          <a:pt x="45" y="167"/>
                        </a:cubicBezTo>
                        <a:cubicBezTo>
                          <a:pt x="42" y="173"/>
                          <a:pt x="42" y="173"/>
                          <a:pt x="42" y="173"/>
                        </a:cubicBezTo>
                        <a:cubicBezTo>
                          <a:pt x="42" y="176"/>
                          <a:pt x="43" y="178"/>
                          <a:pt x="46" y="178"/>
                        </a:cubicBezTo>
                        <a:cubicBezTo>
                          <a:pt x="130" y="178"/>
                          <a:pt x="130" y="178"/>
                          <a:pt x="130" y="178"/>
                        </a:cubicBezTo>
                        <a:cubicBezTo>
                          <a:pt x="133" y="178"/>
                          <a:pt x="134" y="176"/>
                          <a:pt x="134" y="173"/>
                        </a:cubicBezTo>
                        <a:lnTo>
                          <a:pt x="131" y="167"/>
                        </a:lnTo>
                        <a:close/>
                        <a:moveTo>
                          <a:pt x="17" y="50"/>
                        </a:moveTo>
                        <a:cubicBezTo>
                          <a:pt x="16" y="50"/>
                          <a:pt x="15" y="49"/>
                          <a:pt x="15" y="49"/>
                        </a:cubicBezTo>
                        <a:cubicBezTo>
                          <a:pt x="15" y="4"/>
                          <a:pt x="15" y="4"/>
                          <a:pt x="15" y="4"/>
                        </a:cubicBezTo>
                        <a:cubicBezTo>
                          <a:pt x="15" y="3"/>
                          <a:pt x="16" y="3"/>
                          <a:pt x="17" y="3"/>
                        </a:cubicBezTo>
                        <a:cubicBezTo>
                          <a:pt x="76" y="3"/>
                          <a:pt x="76" y="3"/>
                          <a:pt x="76" y="3"/>
                        </a:cubicBezTo>
                        <a:cubicBezTo>
                          <a:pt x="77" y="3"/>
                          <a:pt x="78" y="3"/>
                          <a:pt x="78" y="4"/>
                        </a:cubicBezTo>
                        <a:cubicBezTo>
                          <a:pt x="78" y="49"/>
                          <a:pt x="78" y="49"/>
                          <a:pt x="78" y="49"/>
                        </a:cubicBezTo>
                        <a:cubicBezTo>
                          <a:pt x="78" y="49"/>
                          <a:pt x="77" y="50"/>
                          <a:pt x="76" y="50"/>
                        </a:cubicBezTo>
                        <a:lnTo>
                          <a:pt x="17" y="50"/>
                        </a:lnTo>
                        <a:close/>
                        <a:moveTo>
                          <a:pt x="3" y="73"/>
                        </a:moveTo>
                        <a:cubicBezTo>
                          <a:pt x="3" y="72"/>
                          <a:pt x="6" y="67"/>
                          <a:pt x="6" y="67"/>
                        </a:cubicBezTo>
                        <a:cubicBezTo>
                          <a:pt x="6" y="66"/>
                          <a:pt x="6" y="66"/>
                          <a:pt x="6" y="66"/>
                        </a:cubicBezTo>
                        <a:cubicBezTo>
                          <a:pt x="6" y="65"/>
                          <a:pt x="7" y="64"/>
                          <a:pt x="8" y="64"/>
                        </a:cubicBezTo>
                        <a:cubicBezTo>
                          <a:pt x="12" y="64"/>
                          <a:pt x="12" y="64"/>
                          <a:pt x="12" y="64"/>
                        </a:cubicBezTo>
                        <a:cubicBezTo>
                          <a:pt x="12" y="64"/>
                          <a:pt x="15" y="60"/>
                          <a:pt x="15" y="58"/>
                        </a:cubicBezTo>
                        <a:cubicBezTo>
                          <a:pt x="18" y="58"/>
                          <a:pt x="26" y="58"/>
                          <a:pt x="26" y="58"/>
                        </a:cubicBezTo>
                        <a:cubicBezTo>
                          <a:pt x="26" y="58"/>
                          <a:pt x="26" y="55"/>
                          <a:pt x="26" y="54"/>
                        </a:cubicBezTo>
                        <a:cubicBezTo>
                          <a:pt x="31" y="54"/>
                          <a:pt x="63" y="54"/>
                          <a:pt x="67" y="54"/>
                        </a:cubicBezTo>
                        <a:cubicBezTo>
                          <a:pt x="67" y="55"/>
                          <a:pt x="67" y="58"/>
                          <a:pt x="67" y="58"/>
                        </a:cubicBezTo>
                        <a:cubicBezTo>
                          <a:pt x="67" y="58"/>
                          <a:pt x="76" y="58"/>
                          <a:pt x="78" y="58"/>
                        </a:cubicBezTo>
                        <a:cubicBezTo>
                          <a:pt x="79" y="60"/>
                          <a:pt x="81" y="64"/>
                          <a:pt x="81" y="64"/>
                        </a:cubicBezTo>
                        <a:cubicBezTo>
                          <a:pt x="86" y="64"/>
                          <a:pt x="86" y="64"/>
                          <a:pt x="86" y="64"/>
                        </a:cubicBezTo>
                        <a:cubicBezTo>
                          <a:pt x="87" y="64"/>
                          <a:pt x="88" y="65"/>
                          <a:pt x="88" y="66"/>
                        </a:cubicBezTo>
                        <a:cubicBezTo>
                          <a:pt x="88" y="67"/>
                          <a:pt x="88" y="67"/>
                          <a:pt x="88" y="67"/>
                        </a:cubicBezTo>
                        <a:cubicBezTo>
                          <a:pt x="88" y="67"/>
                          <a:pt x="90" y="72"/>
                          <a:pt x="91" y="73"/>
                        </a:cubicBezTo>
                        <a:cubicBezTo>
                          <a:pt x="90" y="74"/>
                          <a:pt x="90" y="74"/>
                          <a:pt x="89" y="74"/>
                        </a:cubicBezTo>
                        <a:cubicBezTo>
                          <a:pt x="5" y="74"/>
                          <a:pt x="5" y="74"/>
                          <a:pt x="5" y="74"/>
                        </a:cubicBezTo>
                        <a:cubicBezTo>
                          <a:pt x="4" y="74"/>
                          <a:pt x="3" y="74"/>
                          <a:pt x="3" y="73"/>
                        </a:cubicBezTo>
                        <a:close/>
                        <a:moveTo>
                          <a:pt x="59" y="151"/>
                        </a:moveTo>
                        <a:cubicBezTo>
                          <a:pt x="57" y="151"/>
                          <a:pt x="57" y="150"/>
                          <a:pt x="57" y="149"/>
                        </a:cubicBezTo>
                        <a:cubicBezTo>
                          <a:pt x="57" y="105"/>
                          <a:pt x="57" y="105"/>
                          <a:pt x="57" y="105"/>
                        </a:cubicBezTo>
                        <a:cubicBezTo>
                          <a:pt x="57" y="104"/>
                          <a:pt x="57" y="104"/>
                          <a:pt x="59" y="104"/>
                        </a:cubicBezTo>
                        <a:cubicBezTo>
                          <a:pt x="117" y="104"/>
                          <a:pt x="117" y="104"/>
                          <a:pt x="117" y="104"/>
                        </a:cubicBezTo>
                        <a:cubicBezTo>
                          <a:pt x="119" y="104"/>
                          <a:pt x="119" y="104"/>
                          <a:pt x="119" y="105"/>
                        </a:cubicBezTo>
                        <a:cubicBezTo>
                          <a:pt x="119" y="149"/>
                          <a:pt x="119" y="149"/>
                          <a:pt x="119" y="149"/>
                        </a:cubicBezTo>
                        <a:cubicBezTo>
                          <a:pt x="119" y="150"/>
                          <a:pt x="119" y="151"/>
                          <a:pt x="117" y="151"/>
                        </a:cubicBezTo>
                        <a:lnTo>
                          <a:pt x="59" y="151"/>
                        </a:lnTo>
                        <a:close/>
                        <a:moveTo>
                          <a:pt x="130" y="175"/>
                        </a:moveTo>
                        <a:cubicBezTo>
                          <a:pt x="46" y="175"/>
                          <a:pt x="46" y="175"/>
                          <a:pt x="46" y="175"/>
                        </a:cubicBezTo>
                        <a:cubicBezTo>
                          <a:pt x="45" y="175"/>
                          <a:pt x="44" y="175"/>
                          <a:pt x="44" y="174"/>
                        </a:cubicBezTo>
                        <a:cubicBezTo>
                          <a:pt x="45" y="173"/>
                          <a:pt x="47" y="167"/>
                          <a:pt x="47" y="167"/>
                        </a:cubicBezTo>
                        <a:cubicBezTo>
                          <a:pt x="47" y="167"/>
                          <a:pt x="47" y="167"/>
                          <a:pt x="47" y="167"/>
                        </a:cubicBezTo>
                        <a:cubicBezTo>
                          <a:pt x="47" y="166"/>
                          <a:pt x="48" y="165"/>
                          <a:pt x="49" y="165"/>
                        </a:cubicBezTo>
                        <a:cubicBezTo>
                          <a:pt x="54" y="165"/>
                          <a:pt x="54" y="165"/>
                          <a:pt x="54" y="165"/>
                        </a:cubicBezTo>
                        <a:cubicBezTo>
                          <a:pt x="54" y="165"/>
                          <a:pt x="56" y="161"/>
                          <a:pt x="57" y="159"/>
                        </a:cubicBezTo>
                        <a:cubicBezTo>
                          <a:pt x="59" y="159"/>
                          <a:pt x="68" y="159"/>
                          <a:pt x="68" y="159"/>
                        </a:cubicBezTo>
                        <a:cubicBezTo>
                          <a:pt x="68" y="159"/>
                          <a:pt x="68" y="155"/>
                          <a:pt x="68" y="155"/>
                        </a:cubicBezTo>
                        <a:cubicBezTo>
                          <a:pt x="72" y="155"/>
                          <a:pt x="104" y="155"/>
                          <a:pt x="108" y="155"/>
                        </a:cubicBezTo>
                        <a:cubicBezTo>
                          <a:pt x="108" y="155"/>
                          <a:pt x="108" y="159"/>
                          <a:pt x="108" y="159"/>
                        </a:cubicBezTo>
                        <a:cubicBezTo>
                          <a:pt x="108" y="159"/>
                          <a:pt x="117" y="159"/>
                          <a:pt x="119" y="159"/>
                        </a:cubicBezTo>
                        <a:cubicBezTo>
                          <a:pt x="120" y="161"/>
                          <a:pt x="122" y="165"/>
                          <a:pt x="122" y="165"/>
                        </a:cubicBezTo>
                        <a:cubicBezTo>
                          <a:pt x="127" y="165"/>
                          <a:pt x="127" y="165"/>
                          <a:pt x="127" y="165"/>
                        </a:cubicBezTo>
                        <a:cubicBezTo>
                          <a:pt x="128" y="165"/>
                          <a:pt x="129" y="166"/>
                          <a:pt x="129" y="167"/>
                        </a:cubicBezTo>
                        <a:cubicBezTo>
                          <a:pt x="129" y="167"/>
                          <a:pt x="129" y="167"/>
                          <a:pt x="129" y="167"/>
                        </a:cubicBezTo>
                        <a:cubicBezTo>
                          <a:pt x="129" y="167"/>
                          <a:pt x="131" y="173"/>
                          <a:pt x="132" y="174"/>
                        </a:cubicBezTo>
                        <a:cubicBezTo>
                          <a:pt x="132" y="175"/>
                          <a:pt x="131" y="175"/>
                          <a:pt x="130" y="175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29" name="Freeform 49"/>
                  <p:cNvSpPr/>
                  <p:nvPr/>
                </p:nvSpPr>
                <p:spPr bwMode="auto">
                  <a:xfrm>
                    <a:off x="6142038" y="3736976"/>
                    <a:ext cx="30163" cy="7938"/>
                  </a:xfrm>
                  <a:custGeom>
                    <a:avLst/>
                    <a:gdLst>
                      <a:gd name="T0" fmla="*/ 6 w 8"/>
                      <a:gd name="T1" fmla="*/ 0 h 2"/>
                      <a:gd name="T2" fmla="*/ 2 w 8"/>
                      <a:gd name="T3" fmla="*/ 0 h 2"/>
                      <a:gd name="T4" fmla="*/ 0 w 8"/>
                      <a:gd name="T5" fmla="*/ 1 h 2"/>
                      <a:gd name="T6" fmla="*/ 2 w 8"/>
                      <a:gd name="T7" fmla="*/ 2 h 2"/>
                      <a:gd name="T8" fmla="*/ 6 w 8"/>
                      <a:gd name="T9" fmla="*/ 2 h 2"/>
                      <a:gd name="T10" fmla="*/ 8 w 8"/>
                      <a:gd name="T11" fmla="*/ 1 h 2"/>
                      <a:gd name="T12" fmla="*/ 6 w 8"/>
                      <a:gd name="T13" fmla="*/ 0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2">
                        <a:moveTo>
                          <a:pt x="6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0"/>
                          <a:pt x="0" y="1"/>
                        </a:cubicBezTo>
                        <a:cubicBezTo>
                          <a:pt x="0" y="2"/>
                          <a:pt x="1" y="2"/>
                          <a:pt x="2" y="2"/>
                        </a:cubicBezTo>
                        <a:cubicBezTo>
                          <a:pt x="6" y="2"/>
                          <a:pt x="6" y="2"/>
                          <a:pt x="6" y="2"/>
                        </a:cubicBezTo>
                        <a:cubicBezTo>
                          <a:pt x="7" y="2"/>
                          <a:pt x="8" y="2"/>
                          <a:pt x="8" y="1"/>
                        </a:cubicBezTo>
                        <a:cubicBezTo>
                          <a:pt x="8" y="0"/>
                          <a:pt x="7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30" name="Freeform 50"/>
                  <p:cNvSpPr/>
                  <p:nvPr/>
                </p:nvSpPr>
                <p:spPr bwMode="auto">
                  <a:xfrm>
                    <a:off x="6188076" y="3736976"/>
                    <a:ext cx="30163" cy="7938"/>
                  </a:xfrm>
                  <a:custGeom>
                    <a:avLst/>
                    <a:gdLst>
                      <a:gd name="T0" fmla="*/ 6 w 8"/>
                      <a:gd name="T1" fmla="*/ 0 h 2"/>
                      <a:gd name="T2" fmla="*/ 2 w 8"/>
                      <a:gd name="T3" fmla="*/ 0 h 2"/>
                      <a:gd name="T4" fmla="*/ 0 w 8"/>
                      <a:gd name="T5" fmla="*/ 1 h 2"/>
                      <a:gd name="T6" fmla="*/ 2 w 8"/>
                      <a:gd name="T7" fmla="*/ 2 h 2"/>
                      <a:gd name="T8" fmla="*/ 6 w 8"/>
                      <a:gd name="T9" fmla="*/ 2 h 2"/>
                      <a:gd name="T10" fmla="*/ 8 w 8"/>
                      <a:gd name="T11" fmla="*/ 1 h 2"/>
                      <a:gd name="T12" fmla="*/ 6 w 8"/>
                      <a:gd name="T13" fmla="*/ 0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2">
                        <a:moveTo>
                          <a:pt x="6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0"/>
                          <a:pt x="0" y="1"/>
                        </a:cubicBezTo>
                        <a:cubicBezTo>
                          <a:pt x="0" y="2"/>
                          <a:pt x="1" y="2"/>
                          <a:pt x="2" y="2"/>
                        </a:cubicBezTo>
                        <a:cubicBezTo>
                          <a:pt x="6" y="2"/>
                          <a:pt x="6" y="2"/>
                          <a:pt x="6" y="2"/>
                        </a:cubicBezTo>
                        <a:cubicBezTo>
                          <a:pt x="7" y="2"/>
                          <a:pt x="8" y="2"/>
                          <a:pt x="8" y="1"/>
                        </a:cubicBezTo>
                        <a:cubicBezTo>
                          <a:pt x="8" y="0"/>
                          <a:pt x="7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31" name="Freeform 51"/>
                  <p:cNvSpPr/>
                  <p:nvPr/>
                </p:nvSpPr>
                <p:spPr bwMode="auto">
                  <a:xfrm>
                    <a:off x="6232526" y="3736976"/>
                    <a:ext cx="30163" cy="7938"/>
                  </a:xfrm>
                  <a:custGeom>
                    <a:avLst/>
                    <a:gdLst>
                      <a:gd name="T0" fmla="*/ 6 w 8"/>
                      <a:gd name="T1" fmla="*/ 0 h 2"/>
                      <a:gd name="T2" fmla="*/ 2 w 8"/>
                      <a:gd name="T3" fmla="*/ 0 h 2"/>
                      <a:gd name="T4" fmla="*/ 0 w 8"/>
                      <a:gd name="T5" fmla="*/ 1 h 2"/>
                      <a:gd name="T6" fmla="*/ 2 w 8"/>
                      <a:gd name="T7" fmla="*/ 2 h 2"/>
                      <a:gd name="T8" fmla="*/ 6 w 8"/>
                      <a:gd name="T9" fmla="*/ 2 h 2"/>
                      <a:gd name="T10" fmla="*/ 8 w 8"/>
                      <a:gd name="T11" fmla="*/ 1 h 2"/>
                      <a:gd name="T12" fmla="*/ 6 w 8"/>
                      <a:gd name="T13" fmla="*/ 0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2">
                        <a:moveTo>
                          <a:pt x="6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0"/>
                          <a:pt x="0" y="1"/>
                        </a:cubicBezTo>
                        <a:cubicBezTo>
                          <a:pt x="0" y="2"/>
                          <a:pt x="1" y="2"/>
                          <a:pt x="2" y="2"/>
                        </a:cubicBezTo>
                        <a:cubicBezTo>
                          <a:pt x="6" y="2"/>
                          <a:pt x="6" y="2"/>
                          <a:pt x="6" y="2"/>
                        </a:cubicBezTo>
                        <a:cubicBezTo>
                          <a:pt x="7" y="2"/>
                          <a:pt x="8" y="2"/>
                          <a:pt x="8" y="1"/>
                        </a:cubicBezTo>
                        <a:cubicBezTo>
                          <a:pt x="8" y="0"/>
                          <a:pt x="7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32" name="Freeform 52"/>
                  <p:cNvSpPr/>
                  <p:nvPr/>
                </p:nvSpPr>
                <p:spPr bwMode="auto">
                  <a:xfrm>
                    <a:off x="6278563" y="3736976"/>
                    <a:ext cx="30163" cy="7938"/>
                  </a:xfrm>
                  <a:custGeom>
                    <a:avLst/>
                    <a:gdLst>
                      <a:gd name="T0" fmla="*/ 6 w 8"/>
                      <a:gd name="T1" fmla="*/ 0 h 2"/>
                      <a:gd name="T2" fmla="*/ 2 w 8"/>
                      <a:gd name="T3" fmla="*/ 0 h 2"/>
                      <a:gd name="T4" fmla="*/ 0 w 8"/>
                      <a:gd name="T5" fmla="*/ 1 h 2"/>
                      <a:gd name="T6" fmla="*/ 2 w 8"/>
                      <a:gd name="T7" fmla="*/ 2 h 2"/>
                      <a:gd name="T8" fmla="*/ 6 w 8"/>
                      <a:gd name="T9" fmla="*/ 2 h 2"/>
                      <a:gd name="T10" fmla="*/ 8 w 8"/>
                      <a:gd name="T11" fmla="*/ 1 h 2"/>
                      <a:gd name="T12" fmla="*/ 6 w 8"/>
                      <a:gd name="T13" fmla="*/ 0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2">
                        <a:moveTo>
                          <a:pt x="6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0"/>
                          <a:pt x="0" y="1"/>
                        </a:cubicBezTo>
                        <a:cubicBezTo>
                          <a:pt x="0" y="2"/>
                          <a:pt x="1" y="2"/>
                          <a:pt x="2" y="2"/>
                        </a:cubicBezTo>
                        <a:cubicBezTo>
                          <a:pt x="6" y="2"/>
                          <a:pt x="6" y="2"/>
                          <a:pt x="6" y="2"/>
                        </a:cubicBezTo>
                        <a:cubicBezTo>
                          <a:pt x="7" y="2"/>
                          <a:pt x="8" y="2"/>
                          <a:pt x="8" y="1"/>
                        </a:cubicBezTo>
                        <a:cubicBezTo>
                          <a:pt x="8" y="0"/>
                          <a:pt x="7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33" name="Freeform 53"/>
                  <p:cNvSpPr/>
                  <p:nvPr/>
                </p:nvSpPr>
                <p:spPr bwMode="auto">
                  <a:xfrm>
                    <a:off x="6324601" y="3736976"/>
                    <a:ext cx="30163" cy="7938"/>
                  </a:xfrm>
                  <a:custGeom>
                    <a:avLst/>
                    <a:gdLst>
                      <a:gd name="T0" fmla="*/ 6 w 8"/>
                      <a:gd name="T1" fmla="*/ 0 h 2"/>
                      <a:gd name="T2" fmla="*/ 2 w 8"/>
                      <a:gd name="T3" fmla="*/ 0 h 2"/>
                      <a:gd name="T4" fmla="*/ 0 w 8"/>
                      <a:gd name="T5" fmla="*/ 1 h 2"/>
                      <a:gd name="T6" fmla="*/ 2 w 8"/>
                      <a:gd name="T7" fmla="*/ 2 h 2"/>
                      <a:gd name="T8" fmla="*/ 6 w 8"/>
                      <a:gd name="T9" fmla="*/ 2 h 2"/>
                      <a:gd name="T10" fmla="*/ 8 w 8"/>
                      <a:gd name="T11" fmla="*/ 1 h 2"/>
                      <a:gd name="T12" fmla="*/ 6 w 8"/>
                      <a:gd name="T13" fmla="*/ 0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2">
                        <a:moveTo>
                          <a:pt x="6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0"/>
                          <a:pt x="0" y="1"/>
                        </a:cubicBezTo>
                        <a:cubicBezTo>
                          <a:pt x="0" y="2"/>
                          <a:pt x="1" y="2"/>
                          <a:pt x="2" y="2"/>
                        </a:cubicBezTo>
                        <a:cubicBezTo>
                          <a:pt x="6" y="2"/>
                          <a:pt x="6" y="2"/>
                          <a:pt x="6" y="2"/>
                        </a:cubicBezTo>
                        <a:cubicBezTo>
                          <a:pt x="7" y="2"/>
                          <a:pt x="8" y="2"/>
                          <a:pt x="8" y="1"/>
                        </a:cubicBezTo>
                        <a:cubicBezTo>
                          <a:pt x="8" y="0"/>
                          <a:pt x="7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34" name="Freeform 54"/>
                  <p:cNvSpPr/>
                  <p:nvPr/>
                </p:nvSpPr>
                <p:spPr bwMode="auto">
                  <a:xfrm>
                    <a:off x="6370638" y="3736976"/>
                    <a:ext cx="30163" cy="7938"/>
                  </a:xfrm>
                  <a:custGeom>
                    <a:avLst/>
                    <a:gdLst>
                      <a:gd name="T0" fmla="*/ 6 w 8"/>
                      <a:gd name="T1" fmla="*/ 0 h 2"/>
                      <a:gd name="T2" fmla="*/ 2 w 8"/>
                      <a:gd name="T3" fmla="*/ 0 h 2"/>
                      <a:gd name="T4" fmla="*/ 0 w 8"/>
                      <a:gd name="T5" fmla="*/ 1 h 2"/>
                      <a:gd name="T6" fmla="*/ 2 w 8"/>
                      <a:gd name="T7" fmla="*/ 2 h 2"/>
                      <a:gd name="T8" fmla="*/ 6 w 8"/>
                      <a:gd name="T9" fmla="*/ 2 h 2"/>
                      <a:gd name="T10" fmla="*/ 8 w 8"/>
                      <a:gd name="T11" fmla="*/ 1 h 2"/>
                      <a:gd name="T12" fmla="*/ 6 w 8"/>
                      <a:gd name="T13" fmla="*/ 0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2">
                        <a:moveTo>
                          <a:pt x="6" y="0"/>
                        </a:move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0"/>
                          <a:pt x="0" y="1"/>
                        </a:cubicBezTo>
                        <a:cubicBezTo>
                          <a:pt x="0" y="2"/>
                          <a:pt x="1" y="2"/>
                          <a:pt x="2" y="2"/>
                        </a:cubicBezTo>
                        <a:cubicBezTo>
                          <a:pt x="6" y="2"/>
                          <a:pt x="6" y="2"/>
                          <a:pt x="6" y="2"/>
                        </a:cubicBezTo>
                        <a:cubicBezTo>
                          <a:pt x="7" y="2"/>
                          <a:pt x="8" y="2"/>
                          <a:pt x="8" y="1"/>
                        </a:cubicBezTo>
                        <a:cubicBezTo>
                          <a:pt x="8" y="0"/>
                          <a:pt x="7" y="0"/>
                          <a:pt x="6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35" name="Freeform 55"/>
                  <p:cNvSpPr/>
                  <p:nvPr/>
                </p:nvSpPr>
                <p:spPr bwMode="auto">
                  <a:xfrm>
                    <a:off x="6164263" y="3721101"/>
                    <a:ext cx="30163" cy="7938"/>
                  </a:xfrm>
                  <a:custGeom>
                    <a:avLst/>
                    <a:gdLst>
                      <a:gd name="T0" fmla="*/ 2 w 8"/>
                      <a:gd name="T1" fmla="*/ 2 h 2"/>
                      <a:gd name="T2" fmla="*/ 6 w 8"/>
                      <a:gd name="T3" fmla="*/ 2 h 2"/>
                      <a:gd name="T4" fmla="*/ 8 w 8"/>
                      <a:gd name="T5" fmla="*/ 1 h 2"/>
                      <a:gd name="T6" fmla="*/ 6 w 8"/>
                      <a:gd name="T7" fmla="*/ 0 h 2"/>
                      <a:gd name="T8" fmla="*/ 2 w 8"/>
                      <a:gd name="T9" fmla="*/ 0 h 2"/>
                      <a:gd name="T10" fmla="*/ 0 w 8"/>
                      <a:gd name="T11" fmla="*/ 1 h 2"/>
                      <a:gd name="T12" fmla="*/ 2 w 8"/>
                      <a:gd name="T13" fmla="*/ 2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2">
                        <a:moveTo>
                          <a:pt x="2" y="2"/>
                        </a:moveTo>
                        <a:cubicBezTo>
                          <a:pt x="6" y="2"/>
                          <a:pt x="6" y="2"/>
                          <a:pt x="6" y="2"/>
                        </a:cubicBezTo>
                        <a:cubicBezTo>
                          <a:pt x="7" y="2"/>
                          <a:pt x="8" y="2"/>
                          <a:pt x="8" y="1"/>
                        </a:cubicBezTo>
                        <a:cubicBezTo>
                          <a:pt x="8" y="0"/>
                          <a:pt x="7" y="0"/>
                          <a:pt x="6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0"/>
                          <a:pt x="0" y="1"/>
                        </a:cubicBezTo>
                        <a:cubicBezTo>
                          <a:pt x="0" y="2"/>
                          <a:pt x="1" y="2"/>
                          <a:pt x="2" y="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36" name="Freeform 56"/>
                  <p:cNvSpPr/>
                  <p:nvPr/>
                </p:nvSpPr>
                <p:spPr bwMode="auto">
                  <a:xfrm>
                    <a:off x="6210301" y="3721101"/>
                    <a:ext cx="30163" cy="7938"/>
                  </a:xfrm>
                  <a:custGeom>
                    <a:avLst/>
                    <a:gdLst>
                      <a:gd name="T0" fmla="*/ 2 w 8"/>
                      <a:gd name="T1" fmla="*/ 2 h 2"/>
                      <a:gd name="T2" fmla="*/ 6 w 8"/>
                      <a:gd name="T3" fmla="*/ 2 h 2"/>
                      <a:gd name="T4" fmla="*/ 8 w 8"/>
                      <a:gd name="T5" fmla="*/ 1 h 2"/>
                      <a:gd name="T6" fmla="*/ 6 w 8"/>
                      <a:gd name="T7" fmla="*/ 0 h 2"/>
                      <a:gd name="T8" fmla="*/ 2 w 8"/>
                      <a:gd name="T9" fmla="*/ 0 h 2"/>
                      <a:gd name="T10" fmla="*/ 0 w 8"/>
                      <a:gd name="T11" fmla="*/ 1 h 2"/>
                      <a:gd name="T12" fmla="*/ 2 w 8"/>
                      <a:gd name="T13" fmla="*/ 2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2">
                        <a:moveTo>
                          <a:pt x="2" y="2"/>
                        </a:moveTo>
                        <a:cubicBezTo>
                          <a:pt x="6" y="2"/>
                          <a:pt x="6" y="2"/>
                          <a:pt x="6" y="2"/>
                        </a:cubicBezTo>
                        <a:cubicBezTo>
                          <a:pt x="7" y="2"/>
                          <a:pt x="8" y="2"/>
                          <a:pt x="8" y="1"/>
                        </a:cubicBezTo>
                        <a:cubicBezTo>
                          <a:pt x="8" y="0"/>
                          <a:pt x="7" y="0"/>
                          <a:pt x="6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0"/>
                          <a:pt x="0" y="1"/>
                        </a:cubicBezTo>
                        <a:cubicBezTo>
                          <a:pt x="0" y="2"/>
                          <a:pt x="1" y="2"/>
                          <a:pt x="2" y="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37" name="Freeform 57"/>
                  <p:cNvSpPr/>
                  <p:nvPr/>
                </p:nvSpPr>
                <p:spPr bwMode="auto">
                  <a:xfrm>
                    <a:off x="6256338" y="3721101"/>
                    <a:ext cx="30163" cy="7938"/>
                  </a:xfrm>
                  <a:custGeom>
                    <a:avLst/>
                    <a:gdLst>
                      <a:gd name="T0" fmla="*/ 2 w 8"/>
                      <a:gd name="T1" fmla="*/ 2 h 2"/>
                      <a:gd name="T2" fmla="*/ 6 w 8"/>
                      <a:gd name="T3" fmla="*/ 2 h 2"/>
                      <a:gd name="T4" fmla="*/ 8 w 8"/>
                      <a:gd name="T5" fmla="*/ 1 h 2"/>
                      <a:gd name="T6" fmla="*/ 6 w 8"/>
                      <a:gd name="T7" fmla="*/ 0 h 2"/>
                      <a:gd name="T8" fmla="*/ 2 w 8"/>
                      <a:gd name="T9" fmla="*/ 0 h 2"/>
                      <a:gd name="T10" fmla="*/ 0 w 8"/>
                      <a:gd name="T11" fmla="*/ 1 h 2"/>
                      <a:gd name="T12" fmla="*/ 2 w 8"/>
                      <a:gd name="T13" fmla="*/ 2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2">
                        <a:moveTo>
                          <a:pt x="2" y="2"/>
                        </a:moveTo>
                        <a:cubicBezTo>
                          <a:pt x="6" y="2"/>
                          <a:pt x="6" y="2"/>
                          <a:pt x="6" y="2"/>
                        </a:cubicBezTo>
                        <a:cubicBezTo>
                          <a:pt x="7" y="2"/>
                          <a:pt x="8" y="2"/>
                          <a:pt x="8" y="1"/>
                        </a:cubicBezTo>
                        <a:cubicBezTo>
                          <a:pt x="8" y="0"/>
                          <a:pt x="7" y="0"/>
                          <a:pt x="6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0"/>
                          <a:pt x="0" y="1"/>
                        </a:cubicBezTo>
                        <a:cubicBezTo>
                          <a:pt x="0" y="2"/>
                          <a:pt x="1" y="2"/>
                          <a:pt x="2" y="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38" name="Freeform 58"/>
                  <p:cNvSpPr/>
                  <p:nvPr/>
                </p:nvSpPr>
                <p:spPr bwMode="auto">
                  <a:xfrm>
                    <a:off x="6300788" y="3721101"/>
                    <a:ext cx="31750" cy="7938"/>
                  </a:xfrm>
                  <a:custGeom>
                    <a:avLst/>
                    <a:gdLst>
                      <a:gd name="T0" fmla="*/ 2 w 8"/>
                      <a:gd name="T1" fmla="*/ 2 h 2"/>
                      <a:gd name="T2" fmla="*/ 6 w 8"/>
                      <a:gd name="T3" fmla="*/ 2 h 2"/>
                      <a:gd name="T4" fmla="*/ 8 w 8"/>
                      <a:gd name="T5" fmla="*/ 1 h 2"/>
                      <a:gd name="T6" fmla="*/ 6 w 8"/>
                      <a:gd name="T7" fmla="*/ 0 h 2"/>
                      <a:gd name="T8" fmla="*/ 2 w 8"/>
                      <a:gd name="T9" fmla="*/ 0 h 2"/>
                      <a:gd name="T10" fmla="*/ 0 w 8"/>
                      <a:gd name="T11" fmla="*/ 1 h 2"/>
                      <a:gd name="T12" fmla="*/ 2 w 8"/>
                      <a:gd name="T13" fmla="*/ 2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2">
                        <a:moveTo>
                          <a:pt x="2" y="2"/>
                        </a:moveTo>
                        <a:cubicBezTo>
                          <a:pt x="6" y="2"/>
                          <a:pt x="6" y="2"/>
                          <a:pt x="6" y="2"/>
                        </a:cubicBezTo>
                        <a:cubicBezTo>
                          <a:pt x="7" y="2"/>
                          <a:pt x="8" y="2"/>
                          <a:pt x="8" y="1"/>
                        </a:cubicBezTo>
                        <a:cubicBezTo>
                          <a:pt x="8" y="0"/>
                          <a:pt x="7" y="0"/>
                          <a:pt x="6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0"/>
                          <a:pt x="0" y="1"/>
                        </a:cubicBezTo>
                        <a:cubicBezTo>
                          <a:pt x="0" y="2"/>
                          <a:pt x="1" y="2"/>
                          <a:pt x="2" y="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139" name="Freeform 59"/>
                  <p:cNvSpPr/>
                  <p:nvPr/>
                </p:nvSpPr>
                <p:spPr bwMode="auto">
                  <a:xfrm>
                    <a:off x="6346826" y="3721101"/>
                    <a:ext cx="30163" cy="7938"/>
                  </a:xfrm>
                  <a:custGeom>
                    <a:avLst/>
                    <a:gdLst>
                      <a:gd name="T0" fmla="*/ 2 w 8"/>
                      <a:gd name="T1" fmla="*/ 2 h 2"/>
                      <a:gd name="T2" fmla="*/ 6 w 8"/>
                      <a:gd name="T3" fmla="*/ 2 h 2"/>
                      <a:gd name="T4" fmla="*/ 8 w 8"/>
                      <a:gd name="T5" fmla="*/ 1 h 2"/>
                      <a:gd name="T6" fmla="*/ 6 w 8"/>
                      <a:gd name="T7" fmla="*/ 0 h 2"/>
                      <a:gd name="T8" fmla="*/ 2 w 8"/>
                      <a:gd name="T9" fmla="*/ 0 h 2"/>
                      <a:gd name="T10" fmla="*/ 0 w 8"/>
                      <a:gd name="T11" fmla="*/ 1 h 2"/>
                      <a:gd name="T12" fmla="*/ 2 w 8"/>
                      <a:gd name="T13" fmla="*/ 2 h 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</a:cxnLst>
                    <a:rect l="0" t="0" r="r" b="b"/>
                    <a:pathLst>
                      <a:path w="8" h="2">
                        <a:moveTo>
                          <a:pt x="2" y="2"/>
                        </a:moveTo>
                        <a:cubicBezTo>
                          <a:pt x="6" y="2"/>
                          <a:pt x="6" y="2"/>
                          <a:pt x="6" y="2"/>
                        </a:cubicBezTo>
                        <a:cubicBezTo>
                          <a:pt x="7" y="2"/>
                          <a:pt x="8" y="2"/>
                          <a:pt x="8" y="1"/>
                        </a:cubicBezTo>
                        <a:cubicBezTo>
                          <a:pt x="8" y="0"/>
                          <a:pt x="7" y="0"/>
                          <a:pt x="6" y="0"/>
                        </a:cubicBezTo>
                        <a:cubicBezTo>
                          <a:pt x="2" y="0"/>
                          <a:pt x="2" y="0"/>
                          <a:pt x="2" y="0"/>
                        </a:cubicBezTo>
                        <a:cubicBezTo>
                          <a:pt x="1" y="0"/>
                          <a:pt x="0" y="0"/>
                          <a:pt x="0" y="1"/>
                        </a:cubicBezTo>
                        <a:cubicBezTo>
                          <a:pt x="0" y="2"/>
                          <a:pt x="1" y="2"/>
                          <a:pt x="2" y="2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</p:spPr>
                <p:txBody>
                  <a:bodyPr vert="horz" wrap="square" lIns="68576" tIns="34289" rIns="68576" bIns="34289" numCol="1" anchor="t" anchorCtr="0" compatLnSpc="1"/>
                  <a:lstStyle/>
                  <a:p>
                    <a:endParaRPr lang="zh-CN" altLang="en-US" sz="1280">
                      <a:cs typeface="+mn-ea"/>
                      <a:sym typeface="+mn-lt"/>
                    </a:endParaRPr>
                  </a:p>
                </p:txBody>
              </p:sp>
            </p:grpSp>
          </p:grpSp>
        </p:grpSp>
        <p:grpSp>
          <p:nvGrpSpPr>
            <p:cNvPr id="140" name="组合 139"/>
            <p:cNvGrpSpPr/>
            <p:nvPr/>
          </p:nvGrpSpPr>
          <p:grpSpPr>
            <a:xfrm>
              <a:off x="3430103" y="3734259"/>
              <a:ext cx="940001" cy="940001"/>
              <a:chOff x="4048703" y="3786091"/>
              <a:chExt cx="940001" cy="940001"/>
            </a:xfrm>
          </p:grpSpPr>
          <p:sp>
            <p:nvSpPr>
              <p:cNvPr id="141" name="椭圆 140"/>
              <p:cNvSpPr/>
              <p:nvPr/>
            </p:nvSpPr>
            <p:spPr>
              <a:xfrm>
                <a:off x="4048703" y="3786091"/>
                <a:ext cx="940001" cy="940001"/>
              </a:xfrm>
              <a:prstGeom prst="ellipse">
                <a:avLst/>
              </a:prstGeom>
              <a:solidFill>
                <a:srgbClr val="ADACC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/>
                <a:endParaRPr lang="zh-CN" altLang="en-US" sz="1280">
                  <a:cs typeface="+mn-ea"/>
                  <a:sym typeface="+mn-lt"/>
                </a:endParaRPr>
              </a:p>
            </p:txBody>
          </p:sp>
          <p:sp>
            <p:nvSpPr>
              <p:cNvPr id="142" name="Freeform 18"/>
              <p:cNvSpPr/>
              <p:nvPr/>
            </p:nvSpPr>
            <p:spPr bwMode="auto">
              <a:xfrm>
                <a:off x="4327758" y="4029452"/>
                <a:ext cx="381890" cy="365445"/>
              </a:xfrm>
              <a:custGeom>
                <a:avLst/>
                <a:gdLst>
                  <a:gd name="T0" fmla="*/ 174 w 174"/>
                  <a:gd name="T1" fmla="*/ 139 h 166"/>
                  <a:gd name="T2" fmla="*/ 153 w 174"/>
                  <a:gd name="T3" fmla="*/ 126 h 166"/>
                  <a:gd name="T4" fmla="*/ 126 w 174"/>
                  <a:gd name="T5" fmla="*/ 115 h 166"/>
                  <a:gd name="T6" fmla="*/ 118 w 174"/>
                  <a:gd name="T7" fmla="*/ 112 h 166"/>
                  <a:gd name="T8" fmla="*/ 111 w 174"/>
                  <a:gd name="T9" fmla="*/ 100 h 166"/>
                  <a:gd name="T10" fmla="*/ 106 w 174"/>
                  <a:gd name="T11" fmla="*/ 100 h 166"/>
                  <a:gd name="T12" fmla="*/ 111 w 174"/>
                  <a:gd name="T13" fmla="*/ 90 h 166"/>
                  <a:gd name="T14" fmla="*/ 113 w 174"/>
                  <a:gd name="T15" fmla="*/ 79 h 166"/>
                  <a:gd name="T16" fmla="*/ 118 w 174"/>
                  <a:gd name="T17" fmla="*/ 74 h 166"/>
                  <a:gd name="T18" fmla="*/ 121 w 174"/>
                  <a:gd name="T19" fmla="*/ 67 h 166"/>
                  <a:gd name="T20" fmla="*/ 120 w 174"/>
                  <a:gd name="T21" fmla="*/ 54 h 166"/>
                  <a:gd name="T22" fmla="*/ 118 w 174"/>
                  <a:gd name="T23" fmla="*/ 49 h 166"/>
                  <a:gd name="T24" fmla="*/ 119 w 174"/>
                  <a:gd name="T25" fmla="*/ 32 h 166"/>
                  <a:gd name="T26" fmla="*/ 118 w 174"/>
                  <a:gd name="T27" fmla="*/ 20 h 166"/>
                  <a:gd name="T28" fmla="*/ 113 w 174"/>
                  <a:gd name="T29" fmla="*/ 13 h 166"/>
                  <a:gd name="T30" fmla="*/ 108 w 174"/>
                  <a:gd name="T31" fmla="*/ 12 h 166"/>
                  <a:gd name="T32" fmla="*/ 104 w 174"/>
                  <a:gd name="T33" fmla="*/ 9 h 166"/>
                  <a:gd name="T34" fmla="*/ 67 w 174"/>
                  <a:gd name="T35" fmla="*/ 9 h 166"/>
                  <a:gd name="T36" fmla="*/ 54 w 174"/>
                  <a:gd name="T37" fmla="*/ 48 h 166"/>
                  <a:gd name="T38" fmla="*/ 52 w 174"/>
                  <a:gd name="T39" fmla="*/ 57 h 166"/>
                  <a:gd name="T40" fmla="*/ 57 w 174"/>
                  <a:gd name="T41" fmla="*/ 76 h 166"/>
                  <a:gd name="T42" fmla="*/ 60 w 174"/>
                  <a:gd name="T43" fmla="*/ 77 h 166"/>
                  <a:gd name="T44" fmla="*/ 62 w 174"/>
                  <a:gd name="T45" fmla="*/ 91 h 166"/>
                  <a:gd name="T46" fmla="*/ 67 w 174"/>
                  <a:gd name="T47" fmla="*/ 99 h 166"/>
                  <a:gd name="T48" fmla="*/ 63 w 174"/>
                  <a:gd name="T49" fmla="*/ 100 h 166"/>
                  <a:gd name="T50" fmla="*/ 56 w 174"/>
                  <a:gd name="T51" fmla="*/ 112 h 166"/>
                  <a:gd name="T52" fmla="*/ 48 w 174"/>
                  <a:gd name="T53" fmla="*/ 115 h 166"/>
                  <a:gd name="T54" fmla="*/ 21 w 174"/>
                  <a:gd name="T55" fmla="*/ 126 h 166"/>
                  <a:gd name="T56" fmla="*/ 0 w 174"/>
                  <a:gd name="T57" fmla="*/ 139 h 166"/>
                  <a:gd name="T58" fmla="*/ 0 w 174"/>
                  <a:gd name="T59" fmla="*/ 166 h 166"/>
                  <a:gd name="T60" fmla="*/ 76 w 174"/>
                  <a:gd name="T61" fmla="*/ 166 h 166"/>
                  <a:gd name="T62" fmla="*/ 82 w 174"/>
                  <a:gd name="T63" fmla="*/ 127 h 166"/>
                  <a:gd name="T64" fmla="*/ 77 w 174"/>
                  <a:gd name="T65" fmla="*/ 117 h 166"/>
                  <a:gd name="T66" fmla="*/ 88 w 174"/>
                  <a:gd name="T67" fmla="*/ 112 h 166"/>
                  <a:gd name="T68" fmla="*/ 97 w 174"/>
                  <a:gd name="T69" fmla="*/ 117 h 166"/>
                  <a:gd name="T70" fmla="*/ 92 w 174"/>
                  <a:gd name="T71" fmla="*/ 128 h 166"/>
                  <a:gd name="T72" fmla="*/ 101 w 174"/>
                  <a:gd name="T73" fmla="*/ 166 h 166"/>
                  <a:gd name="T74" fmla="*/ 174 w 174"/>
                  <a:gd name="T75" fmla="*/ 166 h 166"/>
                  <a:gd name="T76" fmla="*/ 174 w 174"/>
                  <a:gd name="T77" fmla="*/ 13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74" h="166">
                    <a:moveTo>
                      <a:pt x="174" y="139"/>
                    </a:moveTo>
                    <a:cubicBezTo>
                      <a:pt x="171" y="131"/>
                      <a:pt x="161" y="129"/>
                      <a:pt x="153" y="126"/>
                    </a:cubicBezTo>
                    <a:cubicBezTo>
                      <a:pt x="144" y="122"/>
                      <a:pt x="135" y="118"/>
                      <a:pt x="126" y="115"/>
                    </a:cubicBezTo>
                    <a:cubicBezTo>
                      <a:pt x="123" y="114"/>
                      <a:pt x="121" y="113"/>
                      <a:pt x="118" y="112"/>
                    </a:cubicBezTo>
                    <a:cubicBezTo>
                      <a:pt x="115" y="110"/>
                      <a:pt x="113" y="104"/>
                      <a:pt x="111" y="100"/>
                    </a:cubicBezTo>
                    <a:cubicBezTo>
                      <a:pt x="109" y="100"/>
                      <a:pt x="108" y="100"/>
                      <a:pt x="106" y="100"/>
                    </a:cubicBezTo>
                    <a:cubicBezTo>
                      <a:pt x="106" y="94"/>
                      <a:pt x="110" y="94"/>
                      <a:pt x="111" y="90"/>
                    </a:cubicBezTo>
                    <a:cubicBezTo>
                      <a:pt x="112" y="86"/>
                      <a:pt x="111" y="82"/>
                      <a:pt x="113" y="79"/>
                    </a:cubicBezTo>
                    <a:cubicBezTo>
                      <a:pt x="114" y="76"/>
                      <a:pt x="117" y="76"/>
                      <a:pt x="118" y="74"/>
                    </a:cubicBezTo>
                    <a:cubicBezTo>
                      <a:pt x="120" y="73"/>
                      <a:pt x="120" y="69"/>
                      <a:pt x="121" y="67"/>
                    </a:cubicBezTo>
                    <a:cubicBezTo>
                      <a:pt x="122" y="63"/>
                      <a:pt x="122" y="58"/>
                      <a:pt x="120" y="54"/>
                    </a:cubicBezTo>
                    <a:cubicBezTo>
                      <a:pt x="119" y="52"/>
                      <a:pt x="119" y="51"/>
                      <a:pt x="118" y="49"/>
                    </a:cubicBezTo>
                    <a:cubicBezTo>
                      <a:pt x="118" y="45"/>
                      <a:pt x="119" y="35"/>
                      <a:pt x="119" y="32"/>
                    </a:cubicBezTo>
                    <a:cubicBezTo>
                      <a:pt x="119" y="26"/>
                      <a:pt x="119" y="26"/>
                      <a:pt x="118" y="20"/>
                    </a:cubicBezTo>
                    <a:cubicBezTo>
                      <a:pt x="118" y="20"/>
                      <a:pt x="116" y="14"/>
                      <a:pt x="113" y="13"/>
                    </a:cubicBezTo>
                    <a:cubicBezTo>
                      <a:pt x="108" y="12"/>
                      <a:pt x="108" y="12"/>
                      <a:pt x="108" y="12"/>
                    </a:cubicBezTo>
                    <a:cubicBezTo>
                      <a:pt x="104" y="9"/>
                      <a:pt x="104" y="9"/>
                      <a:pt x="104" y="9"/>
                    </a:cubicBezTo>
                    <a:cubicBezTo>
                      <a:pt x="90" y="0"/>
                      <a:pt x="75" y="6"/>
                      <a:pt x="67" y="9"/>
                    </a:cubicBezTo>
                    <a:cubicBezTo>
                      <a:pt x="56" y="13"/>
                      <a:pt x="49" y="24"/>
                      <a:pt x="54" y="48"/>
                    </a:cubicBezTo>
                    <a:cubicBezTo>
                      <a:pt x="55" y="52"/>
                      <a:pt x="51" y="54"/>
                      <a:pt x="52" y="57"/>
                    </a:cubicBezTo>
                    <a:cubicBezTo>
                      <a:pt x="52" y="61"/>
                      <a:pt x="52" y="73"/>
                      <a:pt x="57" y="76"/>
                    </a:cubicBezTo>
                    <a:cubicBezTo>
                      <a:pt x="57" y="76"/>
                      <a:pt x="61" y="77"/>
                      <a:pt x="60" y="77"/>
                    </a:cubicBezTo>
                    <a:cubicBezTo>
                      <a:pt x="61" y="82"/>
                      <a:pt x="61" y="87"/>
                      <a:pt x="62" y="91"/>
                    </a:cubicBezTo>
                    <a:cubicBezTo>
                      <a:pt x="63" y="94"/>
                      <a:pt x="66" y="95"/>
                      <a:pt x="67" y="99"/>
                    </a:cubicBezTo>
                    <a:cubicBezTo>
                      <a:pt x="63" y="100"/>
                      <a:pt x="63" y="100"/>
                      <a:pt x="63" y="100"/>
                    </a:cubicBezTo>
                    <a:cubicBezTo>
                      <a:pt x="61" y="104"/>
                      <a:pt x="59" y="110"/>
                      <a:pt x="56" y="112"/>
                    </a:cubicBezTo>
                    <a:cubicBezTo>
                      <a:pt x="53" y="113"/>
                      <a:pt x="51" y="114"/>
                      <a:pt x="48" y="115"/>
                    </a:cubicBezTo>
                    <a:cubicBezTo>
                      <a:pt x="39" y="118"/>
                      <a:pt x="30" y="122"/>
                      <a:pt x="21" y="126"/>
                    </a:cubicBezTo>
                    <a:cubicBezTo>
                      <a:pt x="13" y="129"/>
                      <a:pt x="3" y="131"/>
                      <a:pt x="0" y="139"/>
                    </a:cubicBezTo>
                    <a:cubicBezTo>
                      <a:pt x="0" y="145"/>
                      <a:pt x="0" y="158"/>
                      <a:pt x="0" y="166"/>
                    </a:cubicBezTo>
                    <a:cubicBezTo>
                      <a:pt x="76" y="166"/>
                      <a:pt x="76" y="166"/>
                      <a:pt x="76" y="166"/>
                    </a:cubicBezTo>
                    <a:cubicBezTo>
                      <a:pt x="82" y="127"/>
                      <a:pt x="82" y="127"/>
                      <a:pt x="82" y="127"/>
                    </a:cubicBezTo>
                    <a:cubicBezTo>
                      <a:pt x="77" y="117"/>
                      <a:pt x="77" y="117"/>
                      <a:pt x="77" y="117"/>
                    </a:cubicBezTo>
                    <a:cubicBezTo>
                      <a:pt x="88" y="112"/>
                      <a:pt x="88" y="112"/>
                      <a:pt x="88" y="112"/>
                    </a:cubicBezTo>
                    <a:cubicBezTo>
                      <a:pt x="97" y="117"/>
                      <a:pt x="97" y="117"/>
                      <a:pt x="97" y="117"/>
                    </a:cubicBezTo>
                    <a:cubicBezTo>
                      <a:pt x="92" y="128"/>
                      <a:pt x="92" y="128"/>
                      <a:pt x="92" y="128"/>
                    </a:cubicBezTo>
                    <a:cubicBezTo>
                      <a:pt x="101" y="166"/>
                      <a:pt x="101" y="166"/>
                      <a:pt x="101" y="166"/>
                    </a:cubicBezTo>
                    <a:cubicBezTo>
                      <a:pt x="174" y="166"/>
                      <a:pt x="174" y="166"/>
                      <a:pt x="174" y="166"/>
                    </a:cubicBezTo>
                    <a:cubicBezTo>
                      <a:pt x="174" y="158"/>
                      <a:pt x="174" y="145"/>
                      <a:pt x="174" y="13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8576" tIns="34289" rIns="68576" bIns="34289" numCol="1" anchor="t" anchorCtr="0" compatLnSpc="1"/>
              <a:lstStyle/>
              <a:p>
                <a:endParaRPr lang="zh-CN" altLang="en-US" sz="1280">
                  <a:cs typeface="+mn-ea"/>
                  <a:sym typeface="+mn-lt"/>
                </a:endParaRPr>
              </a:p>
            </p:txBody>
          </p:sp>
        </p:grpSp>
        <p:grpSp>
          <p:nvGrpSpPr>
            <p:cNvPr id="143" name="组合 142"/>
            <p:cNvGrpSpPr/>
            <p:nvPr/>
          </p:nvGrpSpPr>
          <p:grpSpPr>
            <a:xfrm>
              <a:off x="2161100" y="1977800"/>
              <a:ext cx="1655673" cy="1655673"/>
              <a:chOff x="1693338" y="1856194"/>
              <a:chExt cx="1655673" cy="1655673"/>
            </a:xfrm>
          </p:grpSpPr>
          <p:sp>
            <p:nvSpPr>
              <p:cNvPr id="144" name="椭圆 143"/>
              <p:cNvSpPr/>
              <p:nvPr/>
            </p:nvSpPr>
            <p:spPr>
              <a:xfrm>
                <a:off x="1693338" y="1856194"/>
                <a:ext cx="1655673" cy="1655673"/>
              </a:xfrm>
              <a:prstGeom prst="ellipse">
                <a:avLst/>
              </a:prstGeom>
              <a:solidFill>
                <a:srgbClr val="E8D2A2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/>
                <a:endParaRPr lang="zh-CN" altLang="en-US" sz="1280">
                  <a:cs typeface="+mn-ea"/>
                  <a:sym typeface="+mn-lt"/>
                </a:endParaRPr>
              </a:p>
            </p:txBody>
          </p:sp>
          <p:sp>
            <p:nvSpPr>
              <p:cNvPr id="145" name="Freeform 5"/>
              <p:cNvSpPr>
                <a:spLocks noEditPoints="1"/>
              </p:cNvSpPr>
              <p:nvPr/>
            </p:nvSpPr>
            <p:spPr bwMode="auto">
              <a:xfrm>
                <a:off x="2038466" y="2262125"/>
                <a:ext cx="965415" cy="862840"/>
              </a:xfrm>
              <a:custGeom>
                <a:avLst/>
                <a:gdLst>
                  <a:gd name="T0" fmla="*/ 200 w 200"/>
                  <a:gd name="T1" fmla="*/ 62 h 178"/>
                  <a:gd name="T2" fmla="*/ 176 w 200"/>
                  <a:gd name="T3" fmla="*/ 39 h 178"/>
                  <a:gd name="T4" fmla="*/ 171 w 200"/>
                  <a:gd name="T5" fmla="*/ 39 h 178"/>
                  <a:gd name="T6" fmla="*/ 171 w 200"/>
                  <a:gd name="T7" fmla="*/ 38 h 178"/>
                  <a:gd name="T8" fmla="*/ 135 w 200"/>
                  <a:gd name="T9" fmla="*/ 3 h 178"/>
                  <a:gd name="T10" fmla="*/ 106 w 200"/>
                  <a:gd name="T11" fmla="*/ 16 h 178"/>
                  <a:gd name="T12" fmla="*/ 70 w 200"/>
                  <a:gd name="T13" fmla="*/ 0 h 178"/>
                  <a:gd name="T14" fmla="*/ 24 w 200"/>
                  <a:gd name="T15" fmla="*/ 45 h 178"/>
                  <a:gd name="T16" fmla="*/ 26 w 200"/>
                  <a:gd name="T17" fmla="*/ 59 h 178"/>
                  <a:gd name="T18" fmla="*/ 0 w 200"/>
                  <a:gd name="T19" fmla="*/ 89 h 178"/>
                  <a:gd name="T20" fmla="*/ 31 w 200"/>
                  <a:gd name="T21" fmla="*/ 119 h 178"/>
                  <a:gd name="T22" fmla="*/ 43 w 200"/>
                  <a:gd name="T23" fmla="*/ 117 h 178"/>
                  <a:gd name="T24" fmla="*/ 60 w 200"/>
                  <a:gd name="T25" fmla="*/ 133 h 178"/>
                  <a:gd name="T26" fmla="*/ 61 w 200"/>
                  <a:gd name="T27" fmla="*/ 133 h 178"/>
                  <a:gd name="T28" fmla="*/ 73 w 200"/>
                  <a:gd name="T29" fmla="*/ 143 h 178"/>
                  <a:gd name="T30" fmla="*/ 84 w 200"/>
                  <a:gd name="T31" fmla="*/ 131 h 178"/>
                  <a:gd name="T32" fmla="*/ 77 w 200"/>
                  <a:gd name="T33" fmla="*/ 122 h 178"/>
                  <a:gd name="T34" fmla="*/ 78 w 200"/>
                  <a:gd name="T35" fmla="*/ 116 h 178"/>
                  <a:gd name="T36" fmla="*/ 78 w 200"/>
                  <a:gd name="T37" fmla="*/ 115 h 178"/>
                  <a:gd name="T38" fmla="*/ 88 w 200"/>
                  <a:gd name="T39" fmla="*/ 117 h 178"/>
                  <a:gd name="T40" fmla="*/ 92 w 200"/>
                  <a:gd name="T41" fmla="*/ 117 h 178"/>
                  <a:gd name="T42" fmla="*/ 97 w 200"/>
                  <a:gd name="T43" fmla="*/ 131 h 178"/>
                  <a:gd name="T44" fmla="*/ 89 w 200"/>
                  <a:gd name="T45" fmla="*/ 141 h 178"/>
                  <a:gd name="T46" fmla="*/ 99 w 200"/>
                  <a:gd name="T47" fmla="*/ 151 h 178"/>
                  <a:gd name="T48" fmla="*/ 109 w 200"/>
                  <a:gd name="T49" fmla="*/ 140 h 178"/>
                  <a:gd name="T50" fmla="*/ 109 w 200"/>
                  <a:gd name="T51" fmla="*/ 139 h 178"/>
                  <a:gd name="T52" fmla="*/ 117 w 200"/>
                  <a:gd name="T53" fmla="*/ 140 h 178"/>
                  <a:gd name="T54" fmla="*/ 142 w 200"/>
                  <a:gd name="T55" fmla="*/ 116 h 178"/>
                  <a:gd name="T56" fmla="*/ 152 w 200"/>
                  <a:gd name="T57" fmla="*/ 117 h 178"/>
                  <a:gd name="T58" fmla="*/ 177 w 200"/>
                  <a:gd name="T59" fmla="*/ 93 h 178"/>
                  <a:gd name="T60" fmla="*/ 175 w 200"/>
                  <a:gd name="T61" fmla="*/ 84 h 178"/>
                  <a:gd name="T62" fmla="*/ 176 w 200"/>
                  <a:gd name="T63" fmla="*/ 84 h 178"/>
                  <a:gd name="T64" fmla="*/ 200 w 200"/>
                  <a:gd name="T65" fmla="*/ 62 h 178"/>
                  <a:gd name="T66" fmla="*/ 117 w 200"/>
                  <a:gd name="T67" fmla="*/ 147 h 178"/>
                  <a:gd name="T68" fmla="*/ 120 w 200"/>
                  <a:gd name="T69" fmla="*/ 145 h 178"/>
                  <a:gd name="T70" fmla="*/ 117 w 200"/>
                  <a:gd name="T71" fmla="*/ 143 h 178"/>
                  <a:gd name="T72" fmla="*/ 114 w 200"/>
                  <a:gd name="T73" fmla="*/ 145 h 178"/>
                  <a:gd name="T74" fmla="*/ 117 w 200"/>
                  <a:gd name="T75" fmla="*/ 147 h 178"/>
                  <a:gd name="T76" fmla="*/ 116 w 200"/>
                  <a:gd name="T77" fmla="*/ 168 h 178"/>
                  <a:gd name="T78" fmla="*/ 111 w 200"/>
                  <a:gd name="T79" fmla="*/ 173 h 178"/>
                  <a:gd name="T80" fmla="*/ 117 w 200"/>
                  <a:gd name="T81" fmla="*/ 178 h 178"/>
                  <a:gd name="T82" fmla="*/ 122 w 200"/>
                  <a:gd name="T83" fmla="*/ 173 h 178"/>
                  <a:gd name="T84" fmla="*/ 116 w 200"/>
                  <a:gd name="T85" fmla="*/ 168 h 178"/>
                  <a:gd name="T86" fmla="*/ 116 w 200"/>
                  <a:gd name="T87" fmla="*/ 155 h 178"/>
                  <a:gd name="T88" fmla="*/ 111 w 200"/>
                  <a:gd name="T89" fmla="*/ 150 h 178"/>
                  <a:gd name="T90" fmla="*/ 106 w 200"/>
                  <a:gd name="T91" fmla="*/ 155 h 178"/>
                  <a:gd name="T92" fmla="*/ 111 w 200"/>
                  <a:gd name="T93" fmla="*/ 160 h 178"/>
                  <a:gd name="T94" fmla="*/ 116 w 200"/>
                  <a:gd name="T95" fmla="*/ 155 h 178"/>
                  <a:gd name="T96" fmla="*/ 97 w 200"/>
                  <a:gd name="T97" fmla="*/ 156 h 178"/>
                  <a:gd name="T98" fmla="*/ 89 w 200"/>
                  <a:gd name="T99" fmla="*/ 164 h 178"/>
                  <a:gd name="T100" fmla="*/ 98 w 200"/>
                  <a:gd name="T101" fmla="*/ 172 h 178"/>
                  <a:gd name="T102" fmla="*/ 106 w 200"/>
                  <a:gd name="T103" fmla="*/ 163 h 178"/>
                  <a:gd name="T104" fmla="*/ 97 w 200"/>
                  <a:gd name="T105" fmla="*/ 156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00" h="178">
                    <a:moveTo>
                      <a:pt x="200" y="62"/>
                    </a:moveTo>
                    <a:cubicBezTo>
                      <a:pt x="200" y="49"/>
                      <a:pt x="189" y="39"/>
                      <a:pt x="176" y="39"/>
                    </a:cubicBezTo>
                    <a:cubicBezTo>
                      <a:pt x="174" y="39"/>
                      <a:pt x="172" y="39"/>
                      <a:pt x="171" y="39"/>
                    </a:cubicBezTo>
                    <a:cubicBezTo>
                      <a:pt x="171" y="39"/>
                      <a:pt x="171" y="38"/>
                      <a:pt x="171" y="38"/>
                    </a:cubicBezTo>
                    <a:cubicBezTo>
                      <a:pt x="171" y="18"/>
                      <a:pt x="155" y="3"/>
                      <a:pt x="135" y="3"/>
                    </a:cubicBezTo>
                    <a:cubicBezTo>
                      <a:pt x="123" y="3"/>
                      <a:pt x="113" y="8"/>
                      <a:pt x="106" y="16"/>
                    </a:cubicBezTo>
                    <a:cubicBezTo>
                      <a:pt x="98" y="6"/>
                      <a:pt x="85" y="0"/>
                      <a:pt x="70" y="0"/>
                    </a:cubicBezTo>
                    <a:cubicBezTo>
                      <a:pt x="45" y="0"/>
                      <a:pt x="24" y="20"/>
                      <a:pt x="24" y="45"/>
                    </a:cubicBezTo>
                    <a:cubicBezTo>
                      <a:pt x="24" y="50"/>
                      <a:pt x="25" y="55"/>
                      <a:pt x="26" y="59"/>
                    </a:cubicBezTo>
                    <a:cubicBezTo>
                      <a:pt x="11" y="62"/>
                      <a:pt x="0" y="74"/>
                      <a:pt x="0" y="89"/>
                    </a:cubicBezTo>
                    <a:cubicBezTo>
                      <a:pt x="0" y="106"/>
                      <a:pt x="14" y="119"/>
                      <a:pt x="31" y="119"/>
                    </a:cubicBezTo>
                    <a:cubicBezTo>
                      <a:pt x="36" y="119"/>
                      <a:pt x="39" y="119"/>
                      <a:pt x="43" y="117"/>
                    </a:cubicBezTo>
                    <a:cubicBezTo>
                      <a:pt x="44" y="126"/>
                      <a:pt x="51" y="133"/>
                      <a:pt x="60" y="133"/>
                    </a:cubicBezTo>
                    <a:cubicBezTo>
                      <a:pt x="61" y="133"/>
                      <a:pt x="61" y="133"/>
                      <a:pt x="61" y="133"/>
                    </a:cubicBezTo>
                    <a:cubicBezTo>
                      <a:pt x="62" y="138"/>
                      <a:pt x="67" y="143"/>
                      <a:pt x="73" y="143"/>
                    </a:cubicBezTo>
                    <a:cubicBezTo>
                      <a:pt x="79" y="143"/>
                      <a:pt x="84" y="137"/>
                      <a:pt x="84" y="131"/>
                    </a:cubicBezTo>
                    <a:cubicBezTo>
                      <a:pt x="84" y="127"/>
                      <a:pt x="81" y="123"/>
                      <a:pt x="77" y="122"/>
                    </a:cubicBezTo>
                    <a:cubicBezTo>
                      <a:pt x="78" y="120"/>
                      <a:pt x="78" y="118"/>
                      <a:pt x="78" y="116"/>
                    </a:cubicBezTo>
                    <a:cubicBezTo>
                      <a:pt x="78" y="115"/>
                      <a:pt x="78" y="115"/>
                      <a:pt x="78" y="115"/>
                    </a:cubicBezTo>
                    <a:cubicBezTo>
                      <a:pt x="81" y="116"/>
                      <a:pt x="84" y="117"/>
                      <a:pt x="88" y="117"/>
                    </a:cubicBezTo>
                    <a:cubicBezTo>
                      <a:pt x="89" y="117"/>
                      <a:pt x="90" y="117"/>
                      <a:pt x="92" y="117"/>
                    </a:cubicBezTo>
                    <a:cubicBezTo>
                      <a:pt x="92" y="122"/>
                      <a:pt x="94" y="127"/>
                      <a:pt x="97" y="131"/>
                    </a:cubicBezTo>
                    <a:cubicBezTo>
                      <a:pt x="92" y="132"/>
                      <a:pt x="88" y="136"/>
                      <a:pt x="89" y="141"/>
                    </a:cubicBezTo>
                    <a:cubicBezTo>
                      <a:pt x="89" y="146"/>
                      <a:pt x="93" y="151"/>
                      <a:pt x="99" y="151"/>
                    </a:cubicBezTo>
                    <a:cubicBezTo>
                      <a:pt x="105" y="150"/>
                      <a:pt x="109" y="146"/>
                      <a:pt x="109" y="140"/>
                    </a:cubicBezTo>
                    <a:cubicBezTo>
                      <a:pt x="109" y="140"/>
                      <a:pt x="109" y="139"/>
                      <a:pt x="109" y="139"/>
                    </a:cubicBezTo>
                    <a:cubicBezTo>
                      <a:pt x="111" y="140"/>
                      <a:pt x="114" y="140"/>
                      <a:pt x="117" y="140"/>
                    </a:cubicBezTo>
                    <a:cubicBezTo>
                      <a:pt x="131" y="140"/>
                      <a:pt x="142" y="129"/>
                      <a:pt x="142" y="116"/>
                    </a:cubicBezTo>
                    <a:cubicBezTo>
                      <a:pt x="145" y="117"/>
                      <a:pt x="148" y="117"/>
                      <a:pt x="152" y="117"/>
                    </a:cubicBezTo>
                    <a:cubicBezTo>
                      <a:pt x="166" y="117"/>
                      <a:pt x="177" y="106"/>
                      <a:pt x="177" y="93"/>
                    </a:cubicBezTo>
                    <a:cubicBezTo>
                      <a:pt x="177" y="90"/>
                      <a:pt x="176" y="87"/>
                      <a:pt x="175" y="84"/>
                    </a:cubicBezTo>
                    <a:cubicBezTo>
                      <a:pt x="176" y="84"/>
                      <a:pt x="176" y="84"/>
                      <a:pt x="176" y="84"/>
                    </a:cubicBezTo>
                    <a:cubicBezTo>
                      <a:pt x="189" y="84"/>
                      <a:pt x="200" y="74"/>
                      <a:pt x="200" y="62"/>
                    </a:cubicBezTo>
                    <a:close/>
                    <a:moveTo>
                      <a:pt x="117" y="147"/>
                    </a:moveTo>
                    <a:cubicBezTo>
                      <a:pt x="119" y="147"/>
                      <a:pt x="120" y="146"/>
                      <a:pt x="120" y="145"/>
                    </a:cubicBezTo>
                    <a:cubicBezTo>
                      <a:pt x="120" y="144"/>
                      <a:pt x="118" y="142"/>
                      <a:pt x="117" y="143"/>
                    </a:cubicBezTo>
                    <a:cubicBezTo>
                      <a:pt x="116" y="143"/>
                      <a:pt x="114" y="144"/>
                      <a:pt x="114" y="145"/>
                    </a:cubicBezTo>
                    <a:cubicBezTo>
                      <a:pt x="115" y="146"/>
                      <a:pt x="116" y="148"/>
                      <a:pt x="117" y="147"/>
                    </a:cubicBezTo>
                    <a:close/>
                    <a:moveTo>
                      <a:pt x="116" y="168"/>
                    </a:moveTo>
                    <a:cubicBezTo>
                      <a:pt x="113" y="168"/>
                      <a:pt x="111" y="170"/>
                      <a:pt x="111" y="173"/>
                    </a:cubicBezTo>
                    <a:cubicBezTo>
                      <a:pt x="111" y="176"/>
                      <a:pt x="114" y="178"/>
                      <a:pt x="117" y="178"/>
                    </a:cubicBezTo>
                    <a:cubicBezTo>
                      <a:pt x="120" y="178"/>
                      <a:pt x="122" y="175"/>
                      <a:pt x="122" y="173"/>
                    </a:cubicBezTo>
                    <a:cubicBezTo>
                      <a:pt x="122" y="170"/>
                      <a:pt x="119" y="167"/>
                      <a:pt x="116" y="168"/>
                    </a:cubicBezTo>
                    <a:close/>
                    <a:moveTo>
                      <a:pt x="116" y="155"/>
                    </a:moveTo>
                    <a:cubicBezTo>
                      <a:pt x="116" y="152"/>
                      <a:pt x="114" y="150"/>
                      <a:pt x="111" y="150"/>
                    </a:cubicBezTo>
                    <a:cubicBezTo>
                      <a:pt x="108" y="150"/>
                      <a:pt x="106" y="152"/>
                      <a:pt x="106" y="155"/>
                    </a:cubicBezTo>
                    <a:cubicBezTo>
                      <a:pt x="106" y="158"/>
                      <a:pt x="108" y="161"/>
                      <a:pt x="111" y="160"/>
                    </a:cubicBezTo>
                    <a:cubicBezTo>
                      <a:pt x="114" y="160"/>
                      <a:pt x="117" y="158"/>
                      <a:pt x="116" y="155"/>
                    </a:cubicBezTo>
                    <a:close/>
                    <a:moveTo>
                      <a:pt x="97" y="156"/>
                    </a:moveTo>
                    <a:cubicBezTo>
                      <a:pt x="92" y="156"/>
                      <a:pt x="89" y="159"/>
                      <a:pt x="89" y="164"/>
                    </a:cubicBezTo>
                    <a:cubicBezTo>
                      <a:pt x="89" y="168"/>
                      <a:pt x="93" y="172"/>
                      <a:pt x="98" y="172"/>
                    </a:cubicBezTo>
                    <a:cubicBezTo>
                      <a:pt x="102" y="172"/>
                      <a:pt x="106" y="168"/>
                      <a:pt x="106" y="163"/>
                    </a:cubicBezTo>
                    <a:cubicBezTo>
                      <a:pt x="106" y="159"/>
                      <a:pt x="102" y="155"/>
                      <a:pt x="97" y="15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8576" tIns="34289" rIns="68576" bIns="34289" numCol="1" anchor="t" anchorCtr="0" compatLnSpc="1"/>
              <a:lstStyle/>
              <a:p>
                <a:endParaRPr lang="zh-CN" altLang="en-US" sz="1280">
                  <a:cs typeface="+mn-ea"/>
                  <a:sym typeface="+mn-lt"/>
                </a:endParaRPr>
              </a:p>
            </p:txBody>
          </p:sp>
        </p:grpSp>
        <p:grpSp>
          <p:nvGrpSpPr>
            <p:cNvPr id="146" name="组合 145"/>
            <p:cNvGrpSpPr/>
            <p:nvPr/>
          </p:nvGrpSpPr>
          <p:grpSpPr>
            <a:xfrm>
              <a:off x="4344596" y="2481320"/>
              <a:ext cx="996661" cy="996661"/>
              <a:chOff x="5323937" y="1118720"/>
              <a:chExt cx="996661" cy="996661"/>
            </a:xfrm>
          </p:grpSpPr>
          <p:sp>
            <p:nvSpPr>
              <p:cNvPr id="147" name="椭圆 146"/>
              <p:cNvSpPr/>
              <p:nvPr/>
            </p:nvSpPr>
            <p:spPr>
              <a:xfrm>
                <a:off x="5323937" y="1118720"/>
                <a:ext cx="996661" cy="996661"/>
              </a:xfrm>
              <a:prstGeom prst="ellipse">
                <a:avLst/>
              </a:prstGeom>
              <a:solidFill>
                <a:srgbClr val="ADACC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/>
                <a:endParaRPr lang="zh-CN" altLang="en-US" sz="1280">
                  <a:cs typeface="+mn-ea"/>
                  <a:sym typeface="+mn-lt"/>
                </a:endParaRPr>
              </a:p>
            </p:txBody>
          </p:sp>
          <p:grpSp>
            <p:nvGrpSpPr>
              <p:cNvPr id="148" name="组合 147"/>
              <p:cNvGrpSpPr/>
              <p:nvPr/>
            </p:nvGrpSpPr>
            <p:grpSpPr>
              <a:xfrm>
                <a:off x="5585865" y="1348310"/>
                <a:ext cx="499202" cy="469980"/>
                <a:chOff x="5772150" y="3287231"/>
                <a:chExt cx="650876" cy="612775"/>
              </a:xfrm>
            </p:grpSpPr>
            <p:sp>
              <p:nvSpPr>
                <p:cNvPr id="149" name="Freeform 13"/>
                <p:cNvSpPr>
                  <a:spLocks noEditPoints="1"/>
                </p:cNvSpPr>
                <p:nvPr/>
              </p:nvSpPr>
              <p:spPr bwMode="auto">
                <a:xfrm>
                  <a:off x="5772150" y="3360256"/>
                  <a:ext cx="536576" cy="539750"/>
                </a:xfrm>
                <a:custGeom>
                  <a:avLst/>
                  <a:gdLst>
                    <a:gd name="T0" fmla="*/ 0 w 140"/>
                    <a:gd name="T1" fmla="*/ 115 h 141"/>
                    <a:gd name="T2" fmla="*/ 25 w 140"/>
                    <a:gd name="T3" fmla="*/ 130 h 141"/>
                    <a:gd name="T4" fmla="*/ 10 w 140"/>
                    <a:gd name="T5" fmla="*/ 60 h 141"/>
                    <a:gd name="T6" fmla="*/ 0 w 140"/>
                    <a:gd name="T7" fmla="*/ 81 h 141"/>
                    <a:gd name="T8" fmla="*/ 10 w 140"/>
                    <a:gd name="T9" fmla="*/ 60 h 141"/>
                    <a:gd name="T10" fmla="*/ 10 w 140"/>
                    <a:gd name="T11" fmla="*/ 26 h 141"/>
                    <a:gd name="T12" fmla="*/ 25 w 140"/>
                    <a:gd name="T13" fmla="*/ 0 h 141"/>
                    <a:gd name="T14" fmla="*/ 10 w 140"/>
                    <a:gd name="T15" fmla="*/ 87 h 141"/>
                    <a:gd name="T16" fmla="*/ 0 w 140"/>
                    <a:gd name="T17" fmla="*/ 108 h 141"/>
                    <a:gd name="T18" fmla="*/ 10 w 140"/>
                    <a:gd name="T19" fmla="*/ 87 h 141"/>
                    <a:gd name="T20" fmla="*/ 0 w 140"/>
                    <a:gd name="T21" fmla="*/ 33 h 141"/>
                    <a:gd name="T22" fmla="*/ 10 w 140"/>
                    <a:gd name="T23" fmla="*/ 54 h 141"/>
                    <a:gd name="T24" fmla="*/ 140 w 140"/>
                    <a:gd name="T25" fmla="*/ 42 h 141"/>
                    <a:gd name="T26" fmla="*/ 140 w 140"/>
                    <a:gd name="T27" fmla="*/ 54 h 141"/>
                    <a:gd name="T28" fmla="*/ 107 w 140"/>
                    <a:gd name="T29" fmla="*/ 9 h 141"/>
                    <a:gd name="T30" fmla="*/ 87 w 140"/>
                    <a:gd name="T31" fmla="*/ 0 h 141"/>
                    <a:gd name="T32" fmla="*/ 105 w 140"/>
                    <a:gd name="T33" fmla="*/ 10 h 141"/>
                    <a:gd name="T34" fmla="*/ 32 w 140"/>
                    <a:gd name="T35" fmla="*/ 141 h 141"/>
                    <a:gd name="T36" fmla="*/ 53 w 140"/>
                    <a:gd name="T37" fmla="*/ 131 h 141"/>
                    <a:gd name="T38" fmla="*/ 32 w 140"/>
                    <a:gd name="T39" fmla="*/ 141 h 141"/>
                    <a:gd name="T40" fmla="*/ 140 w 140"/>
                    <a:gd name="T41" fmla="*/ 108 h 141"/>
                    <a:gd name="T42" fmla="*/ 130 w 140"/>
                    <a:gd name="T43" fmla="*/ 87 h 141"/>
                    <a:gd name="T44" fmla="*/ 115 w 140"/>
                    <a:gd name="T45" fmla="*/ 130 h 141"/>
                    <a:gd name="T46" fmla="*/ 140 w 140"/>
                    <a:gd name="T47" fmla="*/ 115 h 141"/>
                    <a:gd name="T48" fmla="*/ 115 w 140"/>
                    <a:gd name="T49" fmla="*/ 130 h 141"/>
                    <a:gd name="T50" fmla="*/ 130 w 140"/>
                    <a:gd name="T51" fmla="*/ 81 h 141"/>
                    <a:gd name="T52" fmla="*/ 140 w 140"/>
                    <a:gd name="T53" fmla="*/ 60 h 141"/>
                    <a:gd name="T54" fmla="*/ 32 w 140"/>
                    <a:gd name="T55" fmla="*/ 10 h 141"/>
                    <a:gd name="T56" fmla="*/ 53 w 140"/>
                    <a:gd name="T57" fmla="*/ 0 h 141"/>
                    <a:gd name="T58" fmla="*/ 32 w 140"/>
                    <a:gd name="T59" fmla="*/ 10 h 141"/>
                    <a:gd name="T60" fmla="*/ 80 w 140"/>
                    <a:gd name="T61" fmla="*/ 10 h 141"/>
                    <a:gd name="T62" fmla="*/ 60 w 140"/>
                    <a:gd name="T63" fmla="*/ 0 h 141"/>
                    <a:gd name="T64" fmla="*/ 60 w 140"/>
                    <a:gd name="T65" fmla="*/ 141 h 141"/>
                    <a:gd name="T66" fmla="*/ 80 w 140"/>
                    <a:gd name="T67" fmla="*/ 131 h 141"/>
                    <a:gd name="T68" fmla="*/ 60 w 140"/>
                    <a:gd name="T69" fmla="*/ 141 h 141"/>
                    <a:gd name="T70" fmla="*/ 107 w 140"/>
                    <a:gd name="T71" fmla="*/ 141 h 141"/>
                    <a:gd name="T72" fmla="*/ 87 w 140"/>
                    <a:gd name="T73" fmla="*/ 131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40" h="141">
                      <a:moveTo>
                        <a:pt x="10" y="115"/>
                      </a:moveTo>
                      <a:cubicBezTo>
                        <a:pt x="0" y="115"/>
                        <a:pt x="0" y="115"/>
                        <a:pt x="0" y="115"/>
                      </a:cubicBezTo>
                      <a:cubicBezTo>
                        <a:pt x="0" y="129"/>
                        <a:pt x="11" y="140"/>
                        <a:pt x="25" y="140"/>
                      </a:cubicBezTo>
                      <a:cubicBezTo>
                        <a:pt x="25" y="130"/>
                        <a:pt x="25" y="130"/>
                        <a:pt x="25" y="130"/>
                      </a:cubicBezTo>
                      <a:cubicBezTo>
                        <a:pt x="17" y="130"/>
                        <a:pt x="10" y="124"/>
                        <a:pt x="10" y="115"/>
                      </a:cubicBezTo>
                      <a:close/>
                      <a:moveTo>
                        <a:pt x="10" y="60"/>
                      </a:move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81"/>
                        <a:pt x="0" y="81"/>
                        <a:pt x="0" y="81"/>
                      </a:cubicBezTo>
                      <a:cubicBezTo>
                        <a:pt x="10" y="81"/>
                        <a:pt x="10" y="81"/>
                        <a:pt x="10" y="81"/>
                      </a:cubicBezTo>
                      <a:lnTo>
                        <a:pt x="10" y="60"/>
                      </a:lnTo>
                      <a:close/>
                      <a:moveTo>
                        <a:pt x="0" y="26"/>
                      </a:moveTo>
                      <a:cubicBezTo>
                        <a:pt x="10" y="26"/>
                        <a:pt x="10" y="26"/>
                        <a:pt x="10" y="26"/>
                      </a:cubicBezTo>
                      <a:cubicBezTo>
                        <a:pt x="10" y="17"/>
                        <a:pt x="17" y="10"/>
                        <a:pt x="25" y="1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11" y="0"/>
                        <a:pt x="0" y="12"/>
                        <a:pt x="0" y="26"/>
                      </a:cubicBezTo>
                      <a:close/>
                      <a:moveTo>
                        <a:pt x="10" y="87"/>
                      </a:moveTo>
                      <a:cubicBezTo>
                        <a:pt x="0" y="87"/>
                        <a:pt x="0" y="87"/>
                        <a:pt x="0" y="87"/>
                      </a:cubicBezTo>
                      <a:cubicBezTo>
                        <a:pt x="0" y="108"/>
                        <a:pt x="0" y="108"/>
                        <a:pt x="0" y="108"/>
                      </a:cubicBezTo>
                      <a:cubicBezTo>
                        <a:pt x="10" y="108"/>
                        <a:pt x="10" y="108"/>
                        <a:pt x="10" y="108"/>
                      </a:cubicBezTo>
                      <a:lnTo>
                        <a:pt x="10" y="87"/>
                      </a:lnTo>
                      <a:close/>
                      <a:moveTo>
                        <a:pt x="10" y="33"/>
                      </a:moveTo>
                      <a:cubicBezTo>
                        <a:pt x="0" y="33"/>
                        <a:pt x="0" y="33"/>
                        <a:pt x="0" y="33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lnTo>
                        <a:pt x="10" y="33"/>
                      </a:lnTo>
                      <a:close/>
                      <a:moveTo>
                        <a:pt x="140" y="42"/>
                      </a:moveTo>
                      <a:cubicBezTo>
                        <a:pt x="137" y="46"/>
                        <a:pt x="135" y="50"/>
                        <a:pt x="132" y="54"/>
                      </a:cubicBezTo>
                      <a:cubicBezTo>
                        <a:pt x="140" y="54"/>
                        <a:pt x="140" y="54"/>
                        <a:pt x="140" y="54"/>
                      </a:cubicBezTo>
                      <a:lnTo>
                        <a:pt x="140" y="42"/>
                      </a:lnTo>
                      <a:close/>
                      <a:moveTo>
                        <a:pt x="107" y="9"/>
                      </a:moveTo>
                      <a:cubicBezTo>
                        <a:pt x="107" y="0"/>
                        <a:pt x="107" y="0"/>
                        <a:pt x="107" y="0"/>
                      </a:cubicBezTo>
                      <a:cubicBezTo>
                        <a:pt x="87" y="0"/>
                        <a:pt x="87" y="0"/>
                        <a:pt x="87" y="0"/>
                      </a:cubicBezTo>
                      <a:cubicBezTo>
                        <a:pt x="87" y="10"/>
                        <a:pt x="87" y="10"/>
                        <a:pt x="87" y="10"/>
                      </a:cubicBezTo>
                      <a:cubicBezTo>
                        <a:pt x="105" y="10"/>
                        <a:pt x="105" y="10"/>
                        <a:pt x="105" y="10"/>
                      </a:cubicBezTo>
                      <a:cubicBezTo>
                        <a:pt x="106" y="10"/>
                        <a:pt x="106" y="9"/>
                        <a:pt x="107" y="9"/>
                      </a:cubicBezTo>
                      <a:close/>
                      <a:moveTo>
                        <a:pt x="32" y="141"/>
                      </a:moveTo>
                      <a:cubicBezTo>
                        <a:pt x="53" y="141"/>
                        <a:pt x="53" y="141"/>
                        <a:pt x="53" y="141"/>
                      </a:cubicBezTo>
                      <a:cubicBezTo>
                        <a:pt x="53" y="131"/>
                        <a:pt x="53" y="131"/>
                        <a:pt x="53" y="131"/>
                      </a:cubicBezTo>
                      <a:cubicBezTo>
                        <a:pt x="32" y="131"/>
                        <a:pt x="32" y="131"/>
                        <a:pt x="32" y="131"/>
                      </a:cubicBezTo>
                      <a:lnTo>
                        <a:pt x="32" y="141"/>
                      </a:lnTo>
                      <a:close/>
                      <a:moveTo>
                        <a:pt x="130" y="108"/>
                      </a:moveTo>
                      <a:cubicBezTo>
                        <a:pt x="140" y="108"/>
                        <a:pt x="140" y="108"/>
                        <a:pt x="140" y="108"/>
                      </a:cubicBezTo>
                      <a:cubicBezTo>
                        <a:pt x="140" y="87"/>
                        <a:pt x="140" y="87"/>
                        <a:pt x="140" y="87"/>
                      </a:cubicBezTo>
                      <a:cubicBezTo>
                        <a:pt x="130" y="87"/>
                        <a:pt x="130" y="87"/>
                        <a:pt x="130" y="87"/>
                      </a:cubicBezTo>
                      <a:lnTo>
                        <a:pt x="130" y="108"/>
                      </a:lnTo>
                      <a:close/>
                      <a:moveTo>
                        <a:pt x="115" y="130"/>
                      </a:moveTo>
                      <a:cubicBezTo>
                        <a:pt x="115" y="140"/>
                        <a:pt x="115" y="140"/>
                        <a:pt x="115" y="140"/>
                      </a:cubicBezTo>
                      <a:cubicBezTo>
                        <a:pt x="129" y="140"/>
                        <a:pt x="140" y="129"/>
                        <a:pt x="140" y="115"/>
                      </a:cubicBezTo>
                      <a:cubicBezTo>
                        <a:pt x="130" y="115"/>
                        <a:pt x="130" y="115"/>
                        <a:pt x="130" y="115"/>
                      </a:cubicBezTo>
                      <a:cubicBezTo>
                        <a:pt x="130" y="124"/>
                        <a:pt x="123" y="130"/>
                        <a:pt x="115" y="130"/>
                      </a:cubicBezTo>
                      <a:close/>
                      <a:moveTo>
                        <a:pt x="130" y="60"/>
                      </a:moveTo>
                      <a:cubicBezTo>
                        <a:pt x="130" y="81"/>
                        <a:pt x="130" y="81"/>
                        <a:pt x="130" y="81"/>
                      </a:cubicBezTo>
                      <a:cubicBezTo>
                        <a:pt x="140" y="81"/>
                        <a:pt x="140" y="81"/>
                        <a:pt x="140" y="81"/>
                      </a:cubicBezTo>
                      <a:cubicBezTo>
                        <a:pt x="140" y="60"/>
                        <a:pt x="140" y="60"/>
                        <a:pt x="140" y="60"/>
                      </a:cubicBezTo>
                      <a:lnTo>
                        <a:pt x="130" y="60"/>
                      </a:lnTo>
                      <a:close/>
                      <a:moveTo>
                        <a:pt x="32" y="10"/>
                      </a:move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3" y="0"/>
                        <a:pt x="53" y="0"/>
                        <a:pt x="5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lnTo>
                        <a:pt x="32" y="10"/>
                      </a:lnTo>
                      <a:close/>
                      <a:moveTo>
                        <a:pt x="60" y="10"/>
                      </a:moveTo>
                      <a:cubicBezTo>
                        <a:pt x="80" y="10"/>
                        <a:pt x="80" y="10"/>
                        <a:pt x="80" y="10"/>
                      </a:cubicBezTo>
                      <a:cubicBezTo>
                        <a:pt x="80" y="0"/>
                        <a:pt x="80" y="0"/>
                        <a:pt x="80" y="0"/>
                      </a:cubicBezTo>
                      <a:cubicBezTo>
                        <a:pt x="60" y="0"/>
                        <a:pt x="60" y="0"/>
                        <a:pt x="60" y="0"/>
                      </a:cubicBezTo>
                      <a:lnTo>
                        <a:pt x="60" y="10"/>
                      </a:lnTo>
                      <a:close/>
                      <a:moveTo>
                        <a:pt x="60" y="141"/>
                      </a:moveTo>
                      <a:cubicBezTo>
                        <a:pt x="80" y="141"/>
                        <a:pt x="80" y="141"/>
                        <a:pt x="80" y="141"/>
                      </a:cubicBezTo>
                      <a:cubicBezTo>
                        <a:pt x="80" y="131"/>
                        <a:pt x="80" y="131"/>
                        <a:pt x="80" y="131"/>
                      </a:cubicBezTo>
                      <a:cubicBezTo>
                        <a:pt x="60" y="131"/>
                        <a:pt x="60" y="131"/>
                        <a:pt x="60" y="131"/>
                      </a:cubicBezTo>
                      <a:lnTo>
                        <a:pt x="60" y="141"/>
                      </a:lnTo>
                      <a:close/>
                      <a:moveTo>
                        <a:pt x="87" y="141"/>
                      </a:moveTo>
                      <a:cubicBezTo>
                        <a:pt x="107" y="141"/>
                        <a:pt x="107" y="141"/>
                        <a:pt x="107" y="141"/>
                      </a:cubicBezTo>
                      <a:cubicBezTo>
                        <a:pt x="107" y="131"/>
                        <a:pt x="107" y="131"/>
                        <a:pt x="107" y="131"/>
                      </a:cubicBezTo>
                      <a:cubicBezTo>
                        <a:pt x="87" y="131"/>
                        <a:pt x="87" y="131"/>
                        <a:pt x="87" y="131"/>
                      </a:cubicBezTo>
                      <a:lnTo>
                        <a:pt x="87" y="14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vert="horz" wrap="square" lIns="68576" tIns="34289" rIns="68576" bIns="34289" numCol="1" anchor="t" anchorCtr="0" compatLnSpc="1"/>
                <a:lstStyle/>
                <a:p>
                  <a:endParaRPr lang="zh-CN" altLang="en-US" sz="1280">
                    <a:cs typeface="+mn-ea"/>
                    <a:sym typeface="+mn-lt"/>
                  </a:endParaRPr>
                </a:p>
              </p:txBody>
            </p:sp>
            <p:sp>
              <p:nvSpPr>
                <p:cNvPr id="150" name="Freeform 14"/>
                <p:cNvSpPr/>
                <p:nvPr/>
              </p:nvSpPr>
              <p:spPr bwMode="auto">
                <a:xfrm>
                  <a:off x="5834062" y="3287231"/>
                  <a:ext cx="588964" cy="509588"/>
                </a:xfrm>
                <a:custGeom>
                  <a:avLst/>
                  <a:gdLst>
                    <a:gd name="T0" fmla="*/ 150 w 154"/>
                    <a:gd name="T1" fmla="*/ 0 h 133"/>
                    <a:gd name="T2" fmla="*/ 54 w 154"/>
                    <a:gd name="T3" fmla="*/ 84 h 133"/>
                    <a:gd name="T4" fmla="*/ 17 w 154"/>
                    <a:gd name="T5" fmla="*/ 54 h 133"/>
                    <a:gd name="T6" fmla="*/ 0 w 154"/>
                    <a:gd name="T7" fmla="*/ 68 h 133"/>
                    <a:gd name="T8" fmla="*/ 65 w 154"/>
                    <a:gd name="T9" fmla="*/ 133 h 133"/>
                    <a:gd name="T10" fmla="*/ 154 w 154"/>
                    <a:gd name="T11" fmla="*/ 9 h 133"/>
                    <a:gd name="T12" fmla="*/ 150 w 154"/>
                    <a:gd name="T13" fmla="*/ 0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4" h="133">
                      <a:moveTo>
                        <a:pt x="150" y="0"/>
                      </a:moveTo>
                      <a:cubicBezTo>
                        <a:pt x="104" y="29"/>
                        <a:pt x="69" y="65"/>
                        <a:pt x="54" y="84"/>
                      </a:cubicBezTo>
                      <a:cubicBezTo>
                        <a:pt x="17" y="54"/>
                        <a:pt x="17" y="54"/>
                        <a:pt x="17" y="54"/>
                      </a:cubicBezTo>
                      <a:cubicBezTo>
                        <a:pt x="0" y="68"/>
                        <a:pt x="0" y="68"/>
                        <a:pt x="0" y="68"/>
                      </a:cubicBezTo>
                      <a:cubicBezTo>
                        <a:pt x="65" y="133"/>
                        <a:pt x="65" y="133"/>
                        <a:pt x="65" y="133"/>
                      </a:cubicBezTo>
                      <a:cubicBezTo>
                        <a:pt x="76" y="105"/>
                        <a:pt x="111" y="49"/>
                        <a:pt x="154" y="9"/>
                      </a:cubicBezTo>
                      <a:lnTo>
                        <a:pt x="15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vert="horz" wrap="square" lIns="68576" tIns="34289" rIns="68576" bIns="34289" numCol="1" anchor="t" anchorCtr="0" compatLnSpc="1"/>
                <a:lstStyle/>
                <a:p>
                  <a:endParaRPr lang="zh-CN" altLang="en-US" sz="1280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51" name="组合 150"/>
            <p:cNvGrpSpPr/>
            <p:nvPr/>
          </p:nvGrpSpPr>
          <p:grpSpPr>
            <a:xfrm>
              <a:off x="895590" y="2685493"/>
              <a:ext cx="940001" cy="940001"/>
              <a:chOff x="2406714" y="3912247"/>
              <a:chExt cx="940001" cy="940001"/>
            </a:xfrm>
          </p:grpSpPr>
          <p:sp>
            <p:nvSpPr>
              <p:cNvPr id="152" name="椭圆 151"/>
              <p:cNvSpPr/>
              <p:nvPr/>
            </p:nvSpPr>
            <p:spPr>
              <a:xfrm>
                <a:off x="2406714" y="3912247"/>
                <a:ext cx="940001" cy="940001"/>
              </a:xfrm>
              <a:prstGeom prst="ellipse">
                <a:avLst/>
              </a:prstGeom>
              <a:solidFill>
                <a:srgbClr val="ADACC8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/>
                <a:endParaRPr lang="zh-CN" altLang="en-US" sz="1280">
                  <a:cs typeface="+mn-ea"/>
                  <a:sym typeface="+mn-lt"/>
                </a:endParaRPr>
              </a:p>
            </p:txBody>
          </p:sp>
          <p:grpSp>
            <p:nvGrpSpPr>
              <p:cNvPr id="153" name="Group 62"/>
              <p:cNvGrpSpPr>
                <a:grpSpLocks noChangeAspect="1"/>
              </p:cNvGrpSpPr>
              <p:nvPr/>
            </p:nvGrpSpPr>
            <p:grpSpPr bwMode="auto">
              <a:xfrm>
                <a:off x="2702986" y="4007759"/>
                <a:ext cx="375973" cy="562002"/>
                <a:chOff x="3647" y="1954"/>
                <a:chExt cx="384" cy="574"/>
              </a:xfrm>
            </p:grpSpPr>
            <p:sp>
              <p:nvSpPr>
                <p:cNvPr id="154" name="AutoShape 61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3649" y="1954"/>
                  <a:ext cx="382" cy="4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68576" tIns="34289" rIns="68576" bIns="34289" numCol="1" anchor="t" anchorCtr="0" compatLnSpc="1"/>
                <a:lstStyle/>
                <a:p>
                  <a:endParaRPr lang="zh-CN" altLang="en-US" sz="1280">
                    <a:latin typeface="Calibri" panose="020F0502020204030204" pitchFamily="34" charset="0"/>
                    <a:ea typeface="三极趣味广告体" panose="00000500000000000000" pitchFamily="2" charset="-122"/>
                    <a:sym typeface="Calibri" panose="020F0502020204030204" pitchFamily="34" charset="0"/>
                  </a:endParaRPr>
                </a:p>
              </p:txBody>
            </p:sp>
            <p:sp>
              <p:nvSpPr>
                <p:cNvPr id="155" name="Freeform 63"/>
                <p:cNvSpPr/>
                <p:nvPr/>
              </p:nvSpPr>
              <p:spPr bwMode="auto">
                <a:xfrm>
                  <a:off x="3779" y="2118"/>
                  <a:ext cx="252" cy="285"/>
                </a:xfrm>
                <a:custGeom>
                  <a:avLst/>
                  <a:gdLst>
                    <a:gd name="T0" fmla="*/ 32 w 105"/>
                    <a:gd name="T1" fmla="*/ 118 h 118"/>
                    <a:gd name="T2" fmla="*/ 1 w 105"/>
                    <a:gd name="T3" fmla="*/ 105 h 118"/>
                    <a:gd name="T4" fmla="*/ 1 w 105"/>
                    <a:gd name="T5" fmla="*/ 105 h 118"/>
                    <a:gd name="T6" fmla="*/ 0 w 105"/>
                    <a:gd name="T7" fmla="*/ 104 h 118"/>
                    <a:gd name="T8" fmla="*/ 19 w 105"/>
                    <a:gd name="T9" fmla="*/ 85 h 118"/>
                    <a:gd name="T10" fmla="*/ 20 w 105"/>
                    <a:gd name="T11" fmla="*/ 86 h 118"/>
                    <a:gd name="T12" fmla="*/ 32 w 105"/>
                    <a:gd name="T13" fmla="*/ 91 h 118"/>
                    <a:gd name="T14" fmla="*/ 32 w 105"/>
                    <a:gd name="T15" fmla="*/ 91 h 118"/>
                    <a:gd name="T16" fmla="*/ 43 w 105"/>
                    <a:gd name="T17" fmla="*/ 86 h 118"/>
                    <a:gd name="T18" fmla="*/ 43 w 105"/>
                    <a:gd name="T19" fmla="*/ 86 h 118"/>
                    <a:gd name="T20" fmla="*/ 74 w 105"/>
                    <a:gd name="T21" fmla="*/ 56 h 118"/>
                    <a:gd name="T22" fmla="*/ 79 w 105"/>
                    <a:gd name="T23" fmla="*/ 44 h 118"/>
                    <a:gd name="T24" fmla="*/ 79 w 105"/>
                    <a:gd name="T25" fmla="*/ 44 h 118"/>
                    <a:gd name="T26" fmla="*/ 74 w 105"/>
                    <a:gd name="T27" fmla="*/ 33 h 118"/>
                    <a:gd name="T28" fmla="*/ 74 w 105"/>
                    <a:gd name="T29" fmla="*/ 33 h 118"/>
                    <a:gd name="T30" fmla="*/ 73 w 105"/>
                    <a:gd name="T31" fmla="*/ 31 h 118"/>
                    <a:gd name="T32" fmla="*/ 61 w 105"/>
                    <a:gd name="T33" fmla="*/ 27 h 118"/>
                    <a:gd name="T34" fmla="*/ 61 w 105"/>
                    <a:gd name="T35" fmla="*/ 27 h 118"/>
                    <a:gd name="T36" fmla="*/ 49 w 105"/>
                    <a:gd name="T37" fmla="*/ 31 h 118"/>
                    <a:gd name="T38" fmla="*/ 49 w 105"/>
                    <a:gd name="T39" fmla="*/ 31 h 118"/>
                    <a:gd name="T40" fmla="*/ 37 w 105"/>
                    <a:gd name="T41" fmla="*/ 44 h 118"/>
                    <a:gd name="T42" fmla="*/ 18 w 105"/>
                    <a:gd name="T43" fmla="*/ 44 h 118"/>
                    <a:gd name="T44" fmla="*/ 18 w 105"/>
                    <a:gd name="T45" fmla="*/ 44 h 118"/>
                    <a:gd name="T46" fmla="*/ 18 w 105"/>
                    <a:gd name="T47" fmla="*/ 25 h 118"/>
                    <a:gd name="T48" fmla="*/ 18 w 105"/>
                    <a:gd name="T49" fmla="*/ 25 h 118"/>
                    <a:gd name="T50" fmla="*/ 31 w 105"/>
                    <a:gd name="T51" fmla="*/ 13 h 118"/>
                    <a:gd name="T52" fmla="*/ 61 w 105"/>
                    <a:gd name="T53" fmla="*/ 0 h 118"/>
                    <a:gd name="T54" fmla="*/ 61 w 105"/>
                    <a:gd name="T55" fmla="*/ 0 h 118"/>
                    <a:gd name="T56" fmla="*/ 91 w 105"/>
                    <a:gd name="T57" fmla="*/ 13 h 118"/>
                    <a:gd name="T58" fmla="*/ 91 w 105"/>
                    <a:gd name="T59" fmla="*/ 13 h 118"/>
                    <a:gd name="T60" fmla="*/ 93 w 105"/>
                    <a:gd name="T61" fmla="*/ 14 h 118"/>
                    <a:gd name="T62" fmla="*/ 105 w 105"/>
                    <a:gd name="T63" fmla="*/ 44 h 118"/>
                    <a:gd name="T64" fmla="*/ 105 w 105"/>
                    <a:gd name="T65" fmla="*/ 44 h 118"/>
                    <a:gd name="T66" fmla="*/ 93 w 105"/>
                    <a:gd name="T67" fmla="*/ 74 h 118"/>
                    <a:gd name="T68" fmla="*/ 93 w 105"/>
                    <a:gd name="T69" fmla="*/ 74 h 118"/>
                    <a:gd name="T70" fmla="*/ 62 w 105"/>
                    <a:gd name="T71" fmla="*/ 105 h 118"/>
                    <a:gd name="T72" fmla="*/ 32 w 105"/>
                    <a:gd name="T73" fmla="*/ 118 h 118"/>
                    <a:gd name="T74" fmla="*/ 32 w 105"/>
                    <a:gd name="T75" fmla="*/ 118 h 118"/>
                    <a:gd name="T76" fmla="*/ 32 w 105"/>
                    <a:gd name="T77" fmla="*/ 118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105" h="118">
                      <a:moveTo>
                        <a:pt x="32" y="118"/>
                      </a:moveTo>
                      <a:cubicBezTo>
                        <a:pt x="21" y="118"/>
                        <a:pt x="10" y="113"/>
                        <a:pt x="1" y="105"/>
                      </a:cubicBezTo>
                      <a:cubicBezTo>
                        <a:pt x="1" y="105"/>
                        <a:pt x="1" y="105"/>
                        <a:pt x="1" y="105"/>
                      </a:cubicBezTo>
                      <a:cubicBezTo>
                        <a:pt x="0" y="104"/>
                        <a:pt x="0" y="104"/>
                        <a:pt x="0" y="104"/>
                      </a:cubicBezTo>
                      <a:cubicBezTo>
                        <a:pt x="19" y="85"/>
                        <a:pt x="19" y="85"/>
                        <a:pt x="19" y="85"/>
                      </a:cubicBezTo>
                      <a:cubicBezTo>
                        <a:pt x="20" y="86"/>
                        <a:pt x="20" y="86"/>
                        <a:pt x="20" y="86"/>
                      </a:cubicBezTo>
                      <a:cubicBezTo>
                        <a:pt x="23" y="90"/>
                        <a:pt x="27" y="91"/>
                        <a:pt x="32" y="91"/>
                      </a:cubicBezTo>
                      <a:cubicBezTo>
                        <a:pt x="32" y="91"/>
                        <a:pt x="32" y="91"/>
                        <a:pt x="32" y="91"/>
                      </a:cubicBezTo>
                      <a:cubicBezTo>
                        <a:pt x="36" y="91"/>
                        <a:pt x="40" y="90"/>
                        <a:pt x="43" y="86"/>
                      </a:cubicBezTo>
                      <a:cubicBezTo>
                        <a:pt x="43" y="86"/>
                        <a:pt x="43" y="86"/>
                        <a:pt x="43" y="86"/>
                      </a:cubicBezTo>
                      <a:cubicBezTo>
                        <a:pt x="74" y="56"/>
                        <a:pt x="74" y="56"/>
                        <a:pt x="74" y="56"/>
                      </a:cubicBezTo>
                      <a:cubicBezTo>
                        <a:pt x="77" y="53"/>
                        <a:pt x="79" y="48"/>
                        <a:pt x="79" y="44"/>
                      </a:cubicBezTo>
                      <a:cubicBezTo>
                        <a:pt x="79" y="44"/>
                        <a:pt x="79" y="44"/>
                        <a:pt x="79" y="44"/>
                      </a:cubicBezTo>
                      <a:cubicBezTo>
                        <a:pt x="79" y="40"/>
                        <a:pt x="77" y="36"/>
                        <a:pt x="74" y="33"/>
                      </a:cubicBezTo>
                      <a:cubicBezTo>
                        <a:pt x="74" y="33"/>
                        <a:pt x="74" y="33"/>
                        <a:pt x="74" y="33"/>
                      </a:cubicBezTo>
                      <a:cubicBezTo>
                        <a:pt x="73" y="31"/>
                        <a:pt x="73" y="31"/>
                        <a:pt x="73" y="31"/>
                      </a:cubicBezTo>
                      <a:cubicBezTo>
                        <a:pt x="69" y="28"/>
                        <a:pt x="65" y="27"/>
                        <a:pt x="61" y="27"/>
                      </a:cubicBezTo>
                      <a:cubicBezTo>
                        <a:pt x="61" y="27"/>
                        <a:pt x="61" y="27"/>
                        <a:pt x="61" y="27"/>
                      </a:cubicBezTo>
                      <a:cubicBezTo>
                        <a:pt x="57" y="27"/>
                        <a:pt x="53" y="28"/>
                        <a:pt x="49" y="31"/>
                      </a:cubicBezTo>
                      <a:cubicBezTo>
                        <a:pt x="49" y="31"/>
                        <a:pt x="49" y="31"/>
                        <a:pt x="49" y="31"/>
                      </a:cubicBezTo>
                      <a:cubicBezTo>
                        <a:pt x="37" y="44"/>
                        <a:pt x="37" y="44"/>
                        <a:pt x="37" y="44"/>
                      </a:cubicBezTo>
                      <a:cubicBezTo>
                        <a:pt x="32" y="49"/>
                        <a:pt x="23" y="49"/>
                        <a:pt x="18" y="44"/>
                      </a:cubicBezTo>
                      <a:cubicBezTo>
                        <a:pt x="18" y="44"/>
                        <a:pt x="18" y="44"/>
                        <a:pt x="18" y="44"/>
                      </a:cubicBezTo>
                      <a:cubicBezTo>
                        <a:pt x="13" y="39"/>
                        <a:pt x="13" y="30"/>
                        <a:pt x="18" y="25"/>
                      </a:cubicBezTo>
                      <a:cubicBezTo>
                        <a:pt x="18" y="25"/>
                        <a:pt x="18" y="25"/>
                        <a:pt x="18" y="25"/>
                      </a:cubicBezTo>
                      <a:cubicBezTo>
                        <a:pt x="31" y="13"/>
                        <a:pt x="31" y="13"/>
                        <a:pt x="31" y="13"/>
                      </a:cubicBezTo>
                      <a:cubicBezTo>
                        <a:pt x="39" y="4"/>
                        <a:pt x="50" y="0"/>
                        <a:pt x="61" y="0"/>
                      </a:cubicBezTo>
                      <a:cubicBezTo>
                        <a:pt x="61" y="0"/>
                        <a:pt x="61" y="0"/>
                        <a:pt x="61" y="0"/>
                      </a:cubicBezTo>
                      <a:cubicBezTo>
                        <a:pt x="72" y="0"/>
                        <a:pt x="83" y="4"/>
                        <a:pt x="91" y="13"/>
                      </a:cubicBezTo>
                      <a:cubicBezTo>
                        <a:pt x="91" y="13"/>
                        <a:pt x="91" y="13"/>
                        <a:pt x="91" y="13"/>
                      </a:cubicBezTo>
                      <a:cubicBezTo>
                        <a:pt x="93" y="14"/>
                        <a:pt x="93" y="14"/>
                        <a:pt x="93" y="14"/>
                      </a:cubicBezTo>
                      <a:cubicBezTo>
                        <a:pt x="101" y="22"/>
                        <a:pt x="105" y="33"/>
                        <a:pt x="105" y="44"/>
                      </a:cubicBezTo>
                      <a:cubicBezTo>
                        <a:pt x="105" y="44"/>
                        <a:pt x="105" y="44"/>
                        <a:pt x="105" y="44"/>
                      </a:cubicBezTo>
                      <a:cubicBezTo>
                        <a:pt x="105" y="55"/>
                        <a:pt x="101" y="66"/>
                        <a:pt x="93" y="74"/>
                      </a:cubicBezTo>
                      <a:cubicBezTo>
                        <a:pt x="93" y="74"/>
                        <a:pt x="93" y="74"/>
                        <a:pt x="93" y="74"/>
                      </a:cubicBezTo>
                      <a:cubicBezTo>
                        <a:pt x="62" y="105"/>
                        <a:pt x="62" y="105"/>
                        <a:pt x="62" y="105"/>
                      </a:cubicBezTo>
                      <a:cubicBezTo>
                        <a:pt x="54" y="114"/>
                        <a:pt x="42" y="118"/>
                        <a:pt x="32" y="118"/>
                      </a:cubicBezTo>
                      <a:cubicBezTo>
                        <a:pt x="32" y="118"/>
                        <a:pt x="32" y="118"/>
                        <a:pt x="32" y="118"/>
                      </a:cubicBezTo>
                      <a:cubicBezTo>
                        <a:pt x="32" y="118"/>
                        <a:pt x="32" y="118"/>
                        <a:pt x="32" y="11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68576" tIns="34289" rIns="68576" bIns="34289" numCol="1" anchor="t" anchorCtr="0" compatLnSpc="1"/>
                <a:lstStyle/>
                <a:p>
                  <a:endParaRPr lang="zh-CN" altLang="en-US" sz="1280">
                    <a:cs typeface="+mn-ea"/>
                    <a:sym typeface="+mn-lt"/>
                  </a:endParaRPr>
                </a:p>
              </p:txBody>
            </p:sp>
            <p:sp>
              <p:nvSpPr>
                <p:cNvPr id="156" name="Freeform 64"/>
                <p:cNvSpPr/>
                <p:nvPr/>
              </p:nvSpPr>
              <p:spPr bwMode="auto">
                <a:xfrm>
                  <a:off x="3647" y="2244"/>
                  <a:ext cx="252" cy="284"/>
                </a:xfrm>
                <a:custGeom>
                  <a:avLst/>
                  <a:gdLst>
                    <a:gd name="T0" fmla="*/ 44 w 105"/>
                    <a:gd name="T1" fmla="*/ 118 h 118"/>
                    <a:gd name="T2" fmla="*/ 14 w 105"/>
                    <a:gd name="T3" fmla="*/ 105 h 118"/>
                    <a:gd name="T4" fmla="*/ 14 w 105"/>
                    <a:gd name="T5" fmla="*/ 105 h 118"/>
                    <a:gd name="T6" fmla="*/ 12 w 105"/>
                    <a:gd name="T7" fmla="*/ 104 h 118"/>
                    <a:gd name="T8" fmla="*/ 0 w 105"/>
                    <a:gd name="T9" fmla="*/ 74 h 118"/>
                    <a:gd name="T10" fmla="*/ 0 w 105"/>
                    <a:gd name="T11" fmla="*/ 74 h 118"/>
                    <a:gd name="T12" fmla="*/ 12 w 105"/>
                    <a:gd name="T13" fmla="*/ 44 h 118"/>
                    <a:gd name="T14" fmla="*/ 12 w 105"/>
                    <a:gd name="T15" fmla="*/ 44 h 118"/>
                    <a:gd name="T16" fmla="*/ 43 w 105"/>
                    <a:gd name="T17" fmla="*/ 13 h 118"/>
                    <a:gd name="T18" fmla="*/ 73 w 105"/>
                    <a:gd name="T19" fmla="*/ 0 h 118"/>
                    <a:gd name="T20" fmla="*/ 73 w 105"/>
                    <a:gd name="T21" fmla="*/ 0 h 118"/>
                    <a:gd name="T22" fmla="*/ 98 w 105"/>
                    <a:gd name="T23" fmla="*/ 8 h 118"/>
                    <a:gd name="T24" fmla="*/ 98 w 105"/>
                    <a:gd name="T25" fmla="*/ 8 h 118"/>
                    <a:gd name="T26" fmla="*/ 101 w 105"/>
                    <a:gd name="T27" fmla="*/ 10 h 118"/>
                    <a:gd name="T28" fmla="*/ 101 w 105"/>
                    <a:gd name="T29" fmla="*/ 10 h 118"/>
                    <a:gd name="T30" fmla="*/ 104 w 105"/>
                    <a:gd name="T31" fmla="*/ 13 h 118"/>
                    <a:gd name="T32" fmla="*/ 105 w 105"/>
                    <a:gd name="T33" fmla="*/ 14 h 118"/>
                    <a:gd name="T34" fmla="*/ 105 w 105"/>
                    <a:gd name="T35" fmla="*/ 14 h 118"/>
                    <a:gd name="T36" fmla="*/ 105 w 105"/>
                    <a:gd name="T37" fmla="*/ 14 h 118"/>
                    <a:gd name="T38" fmla="*/ 86 w 105"/>
                    <a:gd name="T39" fmla="*/ 33 h 118"/>
                    <a:gd name="T40" fmla="*/ 86 w 105"/>
                    <a:gd name="T41" fmla="*/ 33 h 118"/>
                    <a:gd name="T42" fmla="*/ 85 w 105"/>
                    <a:gd name="T43" fmla="*/ 32 h 118"/>
                    <a:gd name="T44" fmla="*/ 73 w 105"/>
                    <a:gd name="T45" fmla="*/ 27 h 118"/>
                    <a:gd name="T46" fmla="*/ 73 w 105"/>
                    <a:gd name="T47" fmla="*/ 27 h 118"/>
                    <a:gd name="T48" fmla="*/ 62 w 105"/>
                    <a:gd name="T49" fmla="*/ 32 h 118"/>
                    <a:gd name="T50" fmla="*/ 62 w 105"/>
                    <a:gd name="T51" fmla="*/ 32 h 118"/>
                    <a:gd name="T52" fmla="*/ 31 w 105"/>
                    <a:gd name="T53" fmla="*/ 62 h 118"/>
                    <a:gd name="T54" fmla="*/ 26 w 105"/>
                    <a:gd name="T55" fmla="*/ 74 h 118"/>
                    <a:gd name="T56" fmla="*/ 26 w 105"/>
                    <a:gd name="T57" fmla="*/ 74 h 118"/>
                    <a:gd name="T58" fmla="*/ 31 w 105"/>
                    <a:gd name="T59" fmla="*/ 85 h 118"/>
                    <a:gd name="T60" fmla="*/ 31 w 105"/>
                    <a:gd name="T61" fmla="*/ 85 h 118"/>
                    <a:gd name="T62" fmla="*/ 32 w 105"/>
                    <a:gd name="T63" fmla="*/ 87 h 118"/>
                    <a:gd name="T64" fmla="*/ 44 w 105"/>
                    <a:gd name="T65" fmla="*/ 91 h 118"/>
                    <a:gd name="T66" fmla="*/ 44 w 105"/>
                    <a:gd name="T67" fmla="*/ 91 h 118"/>
                    <a:gd name="T68" fmla="*/ 56 w 105"/>
                    <a:gd name="T69" fmla="*/ 87 h 118"/>
                    <a:gd name="T70" fmla="*/ 56 w 105"/>
                    <a:gd name="T71" fmla="*/ 87 h 118"/>
                    <a:gd name="T72" fmla="*/ 69 w 105"/>
                    <a:gd name="T73" fmla="*/ 73 h 118"/>
                    <a:gd name="T74" fmla="*/ 87 w 105"/>
                    <a:gd name="T75" fmla="*/ 73 h 118"/>
                    <a:gd name="T76" fmla="*/ 87 w 105"/>
                    <a:gd name="T77" fmla="*/ 73 h 118"/>
                    <a:gd name="T78" fmla="*/ 87 w 105"/>
                    <a:gd name="T79" fmla="*/ 92 h 118"/>
                    <a:gd name="T80" fmla="*/ 87 w 105"/>
                    <a:gd name="T81" fmla="*/ 92 h 118"/>
                    <a:gd name="T82" fmla="*/ 74 w 105"/>
                    <a:gd name="T83" fmla="*/ 105 h 118"/>
                    <a:gd name="T84" fmla="*/ 44 w 105"/>
                    <a:gd name="T85" fmla="*/ 118 h 118"/>
                    <a:gd name="T86" fmla="*/ 44 w 105"/>
                    <a:gd name="T87" fmla="*/ 118 h 118"/>
                    <a:gd name="T88" fmla="*/ 44 w 105"/>
                    <a:gd name="T89" fmla="*/ 118 h 1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105" h="118">
                      <a:moveTo>
                        <a:pt x="44" y="118"/>
                      </a:moveTo>
                      <a:cubicBezTo>
                        <a:pt x="33" y="118"/>
                        <a:pt x="22" y="114"/>
                        <a:pt x="14" y="105"/>
                      </a:cubicBezTo>
                      <a:cubicBezTo>
                        <a:pt x="14" y="105"/>
                        <a:pt x="14" y="105"/>
                        <a:pt x="14" y="105"/>
                      </a:cubicBezTo>
                      <a:cubicBezTo>
                        <a:pt x="12" y="104"/>
                        <a:pt x="12" y="104"/>
                        <a:pt x="12" y="104"/>
                      </a:cubicBezTo>
                      <a:cubicBezTo>
                        <a:pt x="4" y="96"/>
                        <a:pt x="0" y="85"/>
                        <a:pt x="0" y="74"/>
                      </a:cubicBezTo>
                      <a:cubicBezTo>
                        <a:pt x="0" y="74"/>
                        <a:pt x="0" y="74"/>
                        <a:pt x="0" y="74"/>
                      </a:cubicBezTo>
                      <a:cubicBezTo>
                        <a:pt x="0" y="63"/>
                        <a:pt x="4" y="52"/>
                        <a:pt x="12" y="44"/>
                      </a:cubicBezTo>
                      <a:cubicBezTo>
                        <a:pt x="12" y="44"/>
                        <a:pt x="12" y="44"/>
                        <a:pt x="12" y="44"/>
                      </a:cubicBezTo>
                      <a:cubicBezTo>
                        <a:pt x="43" y="13"/>
                        <a:pt x="43" y="13"/>
                        <a:pt x="43" y="13"/>
                      </a:cubicBezTo>
                      <a:cubicBezTo>
                        <a:pt x="51" y="5"/>
                        <a:pt x="62" y="0"/>
                        <a:pt x="73" y="0"/>
                      </a:cubicBezTo>
                      <a:cubicBezTo>
                        <a:pt x="73" y="0"/>
                        <a:pt x="73" y="0"/>
                        <a:pt x="73" y="0"/>
                      </a:cubicBezTo>
                      <a:cubicBezTo>
                        <a:pt x="82" y="0"/>
                        <a:pt x="91" y="3"/>
                        <a:pt x="98" y="8"/>
                      </a:cubicBezTo>
                      <a:cubicBezTo>
                        <a:pt x="98" y="8"/>
                        <a:pt x="98" y="8"/>
                        <a:pt x="98" y="8"/>
                      </a:cubicBezTo>
                      <a:cubicBezTo>
                        <a:pt x="99" y="9"/>
                        <a:pt x="100" y="9"/>
                        <a:pt x="101" y="10"/>
                      </a:cubicBezTo>
                      <a:cubicBezTo>
                        <a:pt x="101" y="10"/>
                        <a:pt x="101" y="10"/>
                        <a:pt x="101" y="10"/>
                      </a:cubicBezTo>
                      <a:cubicBezTo>
                        <a:pt x="104" y="13"/>
                        <a:pt x="104" y="13"/>
                        <a:pt x="104" y="13"/>
                      </a:cubicBezTo>
                      <a:cubicBezTo>
                        <a:pt x="105" y="14"/>
                        <a:pt x="105" y="14"/>
                        <a:pt x="105" y="14"/>
                      </a:cubicBezTo>
                      <a:cubicBezTo>
                        <a:pt x="105" y="14"/>
                        <a:pt x="105" y="14"/>
                        <a:pt x="105" y="14"/>
                      </a:cubicBezTo>
                      <a:cubicBezTo>
                        <a:pt x="105" y="14"/>
                        <a:pt x="105" y="14"/>
                        <a:pt x="105" y="14"/>
                      </a:cubicBezTo>
                      <a:cubicBezTo>
                        <a:pt x="86" y="33"/>
                        <a:pt x="86" y="33"/>
                        <a:pt x="86" y="33"/>
                      </a:cubicBezTo>
                      <a:cubicBezTo>
                        <a:pt x="86" y="33"/>
                        <a:pt x="86" y="33"/>
                        <a:pt x="86" y="33"/>
                      </a:cubicBezTo>
                      <a:cubicBezTo>
                        <a:pt x="85" y="32"/>
                        <a:pt x="85" y="32"/>
                        <a:pt x="85" y="32"/>
                      </a:cubicBezTo>
                      <a:cubicBezTo>
                        <a:pt x="82" y="28"/>
                        <a:pt x="78" y="27"/>
                        <a:pt x="73" y="27"/>
                      </a:cubicBezTo>
                      <a:cubicBezTo>
                        <a:pt x="73" y="27"/>
                        <a:pt x="73" y="27"/>
                        <a:pt x="73" y="27"/>
                      </a:cubicBezTo>
                      <a:cubicBezTo>
                        <a:pt x="69" y="27"/>
                        <a:pt x="65" y="28"/>
                        <a:pt x="62" y="32"/>
                      </a:cubicBezTo>
                      <a:cubicBezTo>
                        <a:pt x="62" y="32"/>
                        <a:pt x="62" y="32"/>
                        <a:pt x="62" y="32"/>
                      </a:cubicBezTo>
                      <a:cubicBezTo>
                        <a:pt x="31" y="62"/>
                        <a:pt x="31" y="62"/>
                        <a:pt x="31" y="62"/>
                      </a:cubicBezTo>
                      <a:cubicBezTo>
                        <a:pt x="28" y="65"/>
                        <a:pt x="26" y="70"/>
                        <a:pt x="26" y="74"/>
                      </a:cubicBezTo>
                      <a:cubicBezTo>
                        <a:pt x="26" y="74"/>
                        <a:pt x="26" y="74"/>
                        <a:pt x="26" y="74"/>
                      </a:cubicBezTo>
                      <a:cubicBezTo>
                        <a:pt x="26" y="78"/>
                        <a:pt x="28" y="82"/>
                        <a:pt x="31" y="85"/>
                      </a:cubicBezTo>
                      <a:cubicBezTo>
                        <a:pt x="31" y="85"/>
                        <a:pt x="31" y="85"/>
                        <a:pt x="31" y="85"/>
                      </a:cubicBezTo>
                      <a:cubicBezTo>
                        <a:pt x="32" y="87"/>
                        <a:pt x="32" y="87"/>
                        <a:pt x="32" y="87"/>
                      </a:cubicBezTo>
                      <a:cubicBezTo>
                        <a:pt x="36" y="90"/>
                        <a:pt x="40" y="91"/>
                        <a:pt x="44" y="91"/>
                      </a:cubicBezTo>
                      <a:cubicBezTo>
                        <a:pt x="44" y="91"/>
                        <a:pt x="44" y="91"/>
                        <a:pt x="44" y="91"/>
                      </a:cubicBezTo>
                      <a:cubicBezTo>
                        <a:pt x="48" y="91"/>
                        <a:pt x="52" y="90"/>
                        <a:pt x="56" y="87"/>
                      </a:cubicBezTo>
                      <a:cubicBezTo>
                        <a:pt x="56" y="87"/>
                        <a:pt x="56" y="87"/>
                        <a:pt x="56" y="87"/>
                      </a:cubicBezTo>
                      <a:cubicBezTo>
                        <a:pt x="69" y="73"/>
                        <a:pt x="69" y="73"/>
                        <a:pt x="69" y="73"/>
                      </a:cubicBezTo>
                      <a:cubicBezTo>
                        <a:pt x="74" y="68"/>
                        <a:pt x="82" y="68"/>
                        <a:pt x="87" y="73"/>
                      </a:cubicBezTo>
                      <a:cubicBezTo>
                        <a:pt x="87" y="73"/>
                        <a:pt x="87" y="73"/>
                        <a:pt x="87" y="73"/>
                      </a:cubicBezTo>
                      <a:cubicBezTo>
                        <a:pt x="93" y="79"/>
                        <a:pt x="93" y="87"/>
                        <a:pt x="87" y="92"/>
                      </a:cubicBezTo>
                      <a:cubicBezTo>
                        <a:pt x="87" y="92"/>
                        <a:pt x="87" y="92"/>
                        <a:pt x="87" y="92"/>
                      </a:cubicBezTo>
                      <a:cubicBezTo>
                        <a:pt x="74" y="105"/>
                        <a:pt x="74" y="105"/>
                        <a:pt x="74" y="105"/>
                      </a:cubicBezTo>
                      <a:cubicBezTo>
                        <a:pt x="66" y="114"/>
                        <a:pt x="55" y="118"/>
                        <a:pt x="44" y="118"/>
                      </a:cubicBezTo>
                      <a:cubicBezTo>
                        <a:pt x="44" y="118"/>
                        <a:pt x="44" y="118"/>
                        <a:pt x="44" y="118"/>
                      </a:cubicBezTo>
                      <a:cubicBezTo>
                        <a:pt x="44" y="118"/>
                        <a:pt x="44" y="118"/>
                        <a:pt x="44" y="11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68576" tIns="34289" rIns="68576" bIns="34289" numCol="1" anchor="t" anchorCtr="0" compatLnSpc="1"/>
                <a:lstStyle/>
                <a:p>
                  <a:endParaRPr lang="zh-CN" altLang="en-US" sz="1280"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157" name="椭圆 156"/>
            <p:cNvSpPr/>
            <p:nvPr/>
          </p:nvSpPr>
          <p:spPr>
            <a:xfrm>
              <a:off x="1760548" y="3734259"/>
              <a:ext cx="1147584" cy="1147584"/>
            </a:xfrm>
            <a:prstGeom prst="ellipse">
              <a:avLst/>
            </a:prstGeom>
            <a:solidFill>
              <a:srgbClr val="ADACC8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zh-CN" altLang="en-US" sz="1280">
                <a:cs typeface="+mn-ea"/>
                <a:sym typeface="+mn-lt"/>
              </a:endParaRPr>
            </a:p>
          </p:txBody>
        </p:sp>
        <p:grpSp>
          <p:nvGrpSpPr>
            <p:cNvPr id="158" name="组合 157"/>
            <p:cNvGrpSpPr/>
            <p:nvPr/>
          </p:nvGrpSpPr>
          <p:grpSpPr>
            <a:xfrm>
              <a:off x="2092387" y="3886119"/>
              <a:ext cx="492532" cy="473497"/>
              <a:chOff x="5768975" y="3114675"/>
              <a:chExt cx="657225" cy="631825"/>
            </a:xfrm>
          </p:grpSpPr>
          <p:sp>
            <p:nvSpPr>
              <p:cNvPr id="159" name="Freeform 68"/>
              <p:cNvSpPr/>
              <p:nvPr/>
            </p:nvSpPr>
            <p:spPr bwMode="auto">
              <a:xfrm>
                <a:off x="5768975" y="3114675"/>
                <a:ext cx="657225" cy="174625"/>
              </a:xfrm>
              <a:custGeom>
                <a:avLst/>
                <a:gdLst>
                  <a:gd name="T0" fmla="*/ 207 w 414"/>
                  <a:gd name="T1" fmla="*/ 0 h 110"/>
                  <a:gd name="T2" fmla="*/ 311 w 414"/>
                  <a:gd name="T3" fmla="*/ 55 h 110"/>
                  <a:gd name="T4" fmla="*/ 414 w 414"/>
                  <a:gd name="T5" fmla="*/ 110 h 110"/>
                  <a:gd name="T6" fmla="*/ 207 w 414"/>
                  <a:gd name="T7" fmla="*/ 110 h 110"/>
                  <a:gd name="T8" fmla="*/ 0 w 414"/>
                  <a:gd name="T9" fmla="*/ 110 h 110"/>
                  <a:gd name="T10" fmla="*/ 103 w 414"/>
                  <a:gd name="T11" fmla="*/ 55 h 110"/>
                  <a:gd name="T12" fmla="*/ 207 w 414"/>
                  <a:gd name="T13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4" h="110">
                    <a:moveTo>
                      <a:pt x="207" y="0"/>
                    </a:moveTo>
                    <a:lnTo>
                      <a:pt x="311" y="55"/>
                    </a:lnTo>
                    <a:lnTo>
                      <a:pt x="414" y="110"/>
                    </a:lnTo>
                    <a:lnTo>
                      <a:pt x="207" y="110"/>
                    </a:lnTo>
                    <a:lnTo>
                      <a:pt x="0" y="110"/>
                    </a:lnTo>
                    <a:lnTo>
                      <a:pt x="103" y="55"/>
                    </a:lnTo>
                    <a:lnTo>
                      <a:pt x="20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8576" tIns="34289" rIns="68576" bIns="34289" numCol="1" anchor="t" anchorCtr="0" compatLnSpc="1"/>
              <a:lstStyle/>
              <a:p>
                <a:endParaRPr lang="zh-CN" altLang="en-US" sz="1280">
                  <a:cs typeface="+mn-ea"/>
                  <a:sym typeface="+mn-lt"/>
                </a:endParaRPr>
              </a:p>
            </p:txBody>
          </p:sp>
          <p:sp>
            <p:nvSpPr>
              <p:cNvPr id="160" name="Freeform 69"/>
              <p:cNvSpPr/>
              <p:nvPr/>
            </p:nvSpPr>
            <p:spPr bwMode="auto">
              <a:xfrm>
                <a:off x="5848350" y="3313113"/>
                <a:ext cx="65088" cy="334963"/>
              </a:xfrm>
              <a:custGeom>
                <a:avLst/>
                <a:gdLst>
                  <a:gd name="T0" fmla="*/ 17 w 17"/>
                  <a:gd name="T1" fmla="*/ 84 h 88"/>
                  <a:gd name="T2" fmla="*/ 14 w 17"/>
                  <a:gd name="T3" fmla="*/ 88 h 88"/>
                  <a:gd name="T4" fmla="*/ 3 w 17"/>
                  <a:gd name="T5" fmla="*/ 88 h 88"/>
                  <a:gd name="T6" fmla="*/ 0 w 17"/>
                  <a:gd name="T7" fmla="*/ 84 h 88"/>
                  <a:gd name="T8" fmla="*/ 0 w 17"/>
                  <a:gd name="T9" fmla="*/ 4 h 88"/>
                  <a:gd name="T10" fmla="*/ 3 w 17"/>
                  <a:gd name="T11" fmla="*/ 0 h 88"/>
                  <a:gd name="T12" fmla="*/ 14 w 17"/>
                  <a:gd name="T13" fmla="*/ 0 h 88"/>
                  <a:gd name="T14" fmla="*/ 17 w 17"/>
                  <a:gd name="T15" fmla="*/ 4 h 88"/>
                  <a:gd name="T16" fmla="*/ 17 w 17"/>
                  <a:gd name="T17" fmla="*/ 84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88">
                    <a:moveTo>
                      <a:pt x="17" y="84"/>
                    </a:moveTo>
                    <a:cubicBezTo>
                      <a:pt x="17" y="86"/>
                      <a:pt x="16" y="88"/>
                      <a:pt x="14" y="88"/>
                    </a:cubicBezTo>
                    <a:cubicBezTo>
                      <a:pt x="3" y="88"/>
                      <a:pt x="3" y="88"/>
                      <a:pt x="3" y="88"/>
                    </a:cubicBezTo>
                    <a:cubicBezTo>
                      <a:pt x="2" y="88"/>
                      <a:pt x="0" y="86"/>
                      <a:pt x="0" y="8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3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6" y="0"/>
                      <a:pt x="17" y="2"/>
                      <a:pt x="17" y="4"/>
                    </a:cubicBezTo>
                    <a:lnTo>
                      <a:pt x="17" y="8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8576" tIns="34289" rIns="68576" bIns="34289" numCol="1" anchor="t" anchorCtr="0" compatLnSpc="1"/>
              <a:lstStyle/>
              <a:p>
                <a:endParaRPr lang="zh-CN" altLang="en-US" sz="1280">
                  <a:cs typeface="+mn-ea"/>
                  <a:sym typeface="+mn-lt"/>
                </a:endParaRPr>
              </a:p>
            </p:txBody>
          </p:sp>
          <p:sp>
            <p:nvSpPr>
              <p:cNvPr id="161" name="Freeform 70"/>
              <p:cNvSpPr/>
              <p:nvPr/>
            </p:nvSpPr>
            <p:spPr bwMode="auto">
              <a:xfrm>
                <a:off x="5818188" y="3302000"/>
                <a:ext cx="127000" cy="33338"/>
              </a:xfrm>
              <a:custGeom>
                <a:avLst/>
                <a:gdLst>
                  <a:gd name="T0" fmla="*/ 33 w 33"/>
                  <a:gd name="T1" fmla="*/ 7 h 9"/>
                  <a:gd name="T2" fmla="*/ 31 w 33"/>
                  <a:gd name="T3" fmla="*/ 9 h 9"/>
                  <a:gd name="T4" fmla="*/ 2 w 33"/>
                  <a:gd name="T5" fmla="*/ 9 h 9"/>
                  <a:gd name="T6" fmla="*/ 0 w 33"/>
                  <a:gd name="T7" fmla="*/ 7 h 9"/>
                  <a:gd name="T8" fmla="*/ 0 w 33"/>
                  <a:gd name="T9" fmla="*/ 3 h 9"/>
                  <a:gd name="T10" fmla="*/ 2 w 33"/>
                  <a:gd name="T11" fmla="*/ 0 h 9"/>
                  <a:gd name="T12" fmla="*/ 31 w 33"/>
                  <a:gd name="T13" fmla="*/ 0 h 9"/>
                  <a:gd name="T14" fmla="*/ 33 w 33"/>
                  <a:gd name="T15" fmla="*/ 3 h 9"/>
                  <a:gd name="T16" fmla="*/ 33 w 33"/>
                  <a:gd name="T17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9">
                    <a:moveTo>
                      <a:pt x="33" y="7"/>
                    </a:moveTo>
                    <a:cubicBezTo>
                      <a:pt x="33" y="8"/>
                      <a:pt x="32" y="9"/>
                      <a:pt x="31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1" y="9"/>
                      <a:pt x="0" y="8"/>
                      <a:pt x="0" y="7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2" y="0"/>
                      <a:pt x="33" y="1"/>
                      <a:pt x="33" y="3"/>
                    </a:cubicBezTo>
                    <a:lnTo>
                      <a:pt x="33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8576" tIns="34289" rIns="68576" bIns="34289" numCol="1" anchor="t" anchorCtr="0" compatLnSpc="1"/>
              <a:lstStyle/>
              <a:p>
                <a:endParaRPr lang="zh-CN" altLang="en-US" sz="1280">
                  <a:cs typeface="+mn-ea"/>
                  <a:sym typeface="+mn-lt"/>
                </a:endParaRPr>
              </a:p>
            </p:txBody>
          </p:sp>
          <p:sp>
            <p:nvSpPr>
              <p:cNvPr id="162" name="Oval 71"/>
              <p:cNvSpPr>
                <a:spLocks noChangeArrowheads="1"/>
              </p:cNvSpPr>
              <p:nvPr/>
            </p:nvSpPr>
            <p:spPr bwMode="auto">
              <a:xfrm>
                <a:off x="5799138" y="3302000"/>
                <a:ext cx="57150" cy="603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8576" tIns="34289" rIns="68576" bIns="34289" numCol="1" anchor="t" anchorCtr="0" compatLnSpc="1"/>
              <a:lstStyle/>
              <a:p>
                <a:endParaRPr lang="zh-CN" altLang="en-US" sz="1280">
                  <a:cs typeface="+mn-ea"/>
                  <a:sym typeface="+mn-lt"/>
                </a:endParaRPr>
              </a:p>
            </p:txBody>
          </p:sp>
          <p:sp>
            <p:nvSpPr>
              <p:cNvPr id="163" name="Oval 72"/>
              <p:cNvSpPr>
                <a:spLocks noChangeArrowheads="1"/>
              </p:cNvSpPr>
              <p:nvPr/>
            </p:nvSpPr>
            <p:spPr bwMode="auto">
              <a:xfrm>
                <a:off x="5907088" y="3302000"/>
                <a:ext cx="57150" cy="603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8576" tIns="34289" rIns="68576" bIns="34289" numCol="1" anchor="t" anchorCtr="0" compatLnSpc="1"/>
              <a:lstStyle/>
              <a:p>
                <a:endParaRPr lang="zh-CN" altLang="en-US" sz="1280">
                  <a:cs typeface="+mn-ea"/>
                  <a:sym typeface="+mn-lt"/>
                </a:endParaRPr>
              </a:p>
            </p:txBody>
          </p:sp>
          <p:sp>
            <p:nvSpPr>
              <p:cNvPr id="164" name="Freeform 73"/>
              <p:cNvSpPr/>
              <p:nvPr/>
            </p:nvSpPr>
            <p:spPr bwMode="auto">
              <a:xfrm>
                <a:off x="6062663" y="3313113"/>
                <a:ext cx="69850" cy="334963"/>
              </a:xfrm>
              <a:custGeom>
                <a:avLst/>
                <a:gdLst>
                  <a:gd name="T0" fmla="*/ 18 w 18"/>
                  <a:gd name="T1" fmla="*/ 84 h 88"/>
                  <a:gd name="T2" fmla="*/ 14 w 18"/>
                  <a:gd name="T3" fmla="*/ 88 h 88"/>
                  <a:gd name="T4" fmla="*/ 4 w 18"/>
                  <a:gd name="T5" fmla="*/ 88 h 88"/>
                  <a:gd name="T6" fmla="*/ 0 w 18"/>
                  <a:gd name="T7" fmla="*/ 84 h 88"/>
                  <a:gd name="T8" fmla="*/ 0 w 18"/>
                  <a:gd name="T9" fmla="*/ 4 h 88"/>
                  <a:gd name="T10" fmla="*/ 4 w 18"/>
                  <a:gd name="T11" fmla="*/ 0 h 88"/>
                  <a:gd name="T12" fmla="*/ 14 w 18"/>
                  <a:gd name="T13" fmla="*/ 0 h 88"/>
                  <a:gd name="T14" fmla="*/ 18 w 18"/>
                  <a:gd name="T15" fmla="*/ 4 h 88"/>
                  <a:gd name="T16" fmla="*/ 18 w 18"/>
                  <a:gd name="T17" fmla="*/ 84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88">
                    <a:moveTo>
                      <a:pt x="18" y="84"/>
                    </a:moveTo>
                    <a:cubicBezTo>
                      <a:pt x="18" y="86"/>
                      <a:pt x="16" y="88"/>
                      <a:pt x="14" y="88"/>
                    </a:cubicBezTo>
                    <a:cubicBezTo>
                      <a:pt x="4" y="88"/>
                      <a:pt x="4" y="88"/>
                      <a:pt x="4" y="88"/>
                    </a:cubicBezTo>
                    <a:cubicBezTo>
                      <a:pt x="2" y="88"/>
                      <a:pt x="0" y="86"/>
                      <a:pt x="0" y="8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6" y="0"/>
                      <a:pt x="18" y="2"/>
                      <a:pt x="18" y="4"/>
                    </a:cubicBezTo>
                    <a:lnTo>
                      <a:pt x="18" y="8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8576" tIns="34289" rIns="68576" bIns="34289" numCol="1" anchor="t" anchorCtr="0" compatLnSpc="1"/>
              <a:lstStyle/>
              <a:p>
                <a:endParaRPr lang="zh-CN" altLang="en-US" sz="1280">
                  <a:cs typeface="+mn-ea"/>
                  <a:sym typeface="+mn-lt"/>
                </a:endParaRPr>
              </a:p>
            </p:txBody>
          </p:sp>
          <p:sp>
            <p:nvSpPr>
              <p:cNvPr id="165" name="Freeform 74"/>
              <p:cNvSpPr/>
              <p:nvPr/>
            </p:nvSpPr>
            <p:spPr bwMode="auto">
              <a:xfrm>
                <a:off x="6037263" y="3302000"/>
                <a:ext cx="122238" cy="33338"/>
              </a:xfrm>
              <a:custGeom>
                <a:avLst/>
                <a:gdLst>
                  <a:gd name="T0" fmla="*/ 32 w 32"/>
                  <a:gd name="T1" fmla="*/ 7 h 9"/>
                  <a:gd name="T2" fmla="*/ 30 w 32"/>
                  <a:gd name="T3" fmla="*/ 9 h 9"/>
                  <a:gd name="T4" fmla="*/ 2 w 32"/>
                  <a:gd name="T5" fmla="*/ 9 h 9"/>
                  <a:gd name="T6" fmla="*/ 0 w 32"/>
                  <a:gd name="T7" fmla="*/ 7 h 9"/>
                  <a:gd name="T8" fmla="*/ 0 w 32"/>
                  <a:gd name="T9" fmla="*/ 3 h 9"/>
                  <a:gd name="T10" fmla="*/ 2 w 32"/>
                  <a:gd name="T11" fmla="*/ 0 h 9"/>
                  <a:gd name="T12" fmla="*/ 30 w 32"/>
                  <a:gd name="T13" fmla="*/ 0 h 9"/>
                  <a:gd name="T14" fmla="*/ 32 w 32"/>
                  <a:gd name="T15" fmla="*/ 3 h 9"/>
                  <a:gd name="T16" fmla="*/ 32 w 32"/>
                  <a:gd name="T17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" h="9">
                    <a:moveTo>
                      <a:pt x="32" y="7"/>
                    </a:moveTo>
                    <a:cubicBezTo>
                      <a:pt x="32" y="8"/>
                      <a:pt x="31" y="9"/>
                      <a:pt x="30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1" y="9"/>
                      <a:pt x="0" y="8"/>
                      <a:pt x="0" y="7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0" y="0"/>
                      <a:pt x="30" y="0"/>
                      <a:pt x="30" y="0"/>
                    </a:cubicBezTo>
                    <a:cubicBezTo>
                      <a:pt x="31" y="0"/>
                      <a:pt x="32" y="1"/>
                      <a:pt x="32" y="3"/>
                    </a:cubicBezTo>
                    <a:lnTo>
                      <a:pt x="32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8576" tIns="34289" rIns="68576" bIns="34289" numCol="1" anchor="t" anchorCtr="0" compatLnSpc="1"/>
              <a:lstStyle/>
              <a:p>
                <a:endParaRPr lang="zh-CN" altLang="en-US" sz="1280">
                  <a:cs typeface="+mn-ea"/>
                  <a:sym typeface="+mn-lt"/>
                </a:endParaRPr>
              </a:p>
            </p:txBody>
          </p:sp>
          <p:sp>
            <p:nvSpPr>
              <p:cNvPr id="166" name="Oval 75"/>
              <p:cNvSpPr>
                <a:spLocks noChangeArrowheads="1"/>
              </p:cNvSpPr>
              <p:nvPr/>
            </p:nvSpPr>
            <p:spPr bwMode="auto">
              <a:xfrm>
                <a:off x="6016625" y="3302000"/>
                <a:ext cx="53975" cy="603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8576" tIns="34289" rIns="68576" bIns="34289" numCol="1" anchor="t" anchorCtr="0" compatLnSpc="1"/>
              <a:lstStyle/>
              <a:p>
                <a:endParaRPr lang="zh-CN" altLang="en-US" sz="1280">
                  <a:cs typeface="+mn-ea"/>
                  <a:sym typeface="+mn-lt"/>
                </a:endParaRPr>
              </a:p>
            </p:txBody>
          </p:sp>
          <p:sp>
            <p:nvSpPr>
              <p:cNvPr id="167" name="Oval 76"/>
              <p:cNvSpPr>
                <a:spLocks noChangeArrowheads="1"/>
              </p:cNvSpPr>
              <p:nvPr/>
            </p:nvSpPr>
            <p:spPr bwMode="auto">
              <a:xfrm>
                <a:off x="6124575" y="3302000"/>
                <a:ext cx="53975" cy="603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8576" tIns="34289" rIns="68576" bIns="34289" numCol="1" anchor="t" anchorCtr="0" compatLnSpc="1"/>
              <a:lstStyle/>
              <a:p>
                <a:endParaRPr lang="zh-CN" altLang="en-US" sz="1280">
                  <a:cs typeface="+mn-ea"/>
                  <a:sym typeface="+mn-lt"/>
                </a:endParaRPr>
              </a:p>
            </p:txBody>
          </p:sp>
          <p:sp>
            <p:nvSpPr>
              <p:cNvPr id="168" name="Freeform 77"/>
              <p:cNvSpPr/>
              <p:nvPr/>
            </p:nvSpPr>
            <p:spPr bwMode="auto">
              <a:xfrm>
                <a:off x="6281738" y="3313113"/>
                <a:ext cx="65088" cy="334963"/>
              </a:xfrm>
              <a:custGeom>
                <a:avLst/>
                <a:gdLst>
                  <a:gd name="T0" fmla="*/ 17 w 17"/>
                  <a:gd name="T1" fmla="*/ 84 h 88"/>
                  <a:gd name="T2" fmla="*/ 14 w 17"/>
                  <a:gd name="T3" fmla="*/ 88 h 88"/>
                  <a:gd name="T4" fmla="*/ 3 w 17"/>
                  <a:gd name="T5" fmla="*/ 88 h 88"/>
                  <a:gd name="T6" fmla="*/ 0 w 17"/>
                  <a:gd name="T7" fmla="*/ 84 h 88"/>
                  <a:gd name="T8" fmla="*/ 0 w 17"/>
                  <a:gd name="T9" fmla="*/ 4 h 88"/>
                  <a:gd name="T10" fmla="*/ 3 w 17"/>
                  <a:gd name="T11" fmla="*/ 0 h 88"/>
                  <a:gd name="T12" fmla="*/ 14 w 17"/>
                  <a:gd name="T13" fmla="*/ 0 h 88"/>
                  <a:gd name="T14" fmla="*/ 17 w 17"/>
                  <a:gd name="T15" fmla="*/ 4 h 88"/>
                  <a:gd name="T16" fmla="*/ 17 w 17"/>
                  <a:gd name="T17" fmla="*/ 84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88">
                    <a:moveTo>
                      <a:pt x="17" y="84"/>
                    </a:moveTo>
                    <a:cubicBezTo>
                      <a:pt x="17" y="86"/>
                      <a:pt x="15" y="88"/>
                      <a:pt x="14" y="88"/>
                    </a:cubicBezTo>
                    <a:cubicBezTo>
                      <a:pt x="3" y="88"/>
                      <a:pt x="3" y="88"/>
                      <a:pt x="3" y="88"/>
                    </a:cubicBezTo>
                    <a:cubicBezTo>
                      <a:pt x="1" y="88"/>
                      <a:pt x="0" y="86"/>
                      <a:pt x="0" y="84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1" y="0"/>
                      <a:pt x="3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5" y="0"/>
                      <a:pt x="17" y="2"/>
                      <a:pt x="17" y="4"/>
                    </a:cubicBezTo>
                    <a:lnTo>
                      <a:pt x="17" y="8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8576" tIns="34289" rIns="68576" bIns="34289" numCol="1" anchor="t" anchorCtr="0" compatLnSpc="1"/>
              <a:lstStyle/>
              <a:p>
                <a:endParaRPr lang="zh-CN" altLang="en-US" sz="1280">
                  <a:cs typeface="+mn-ea"/>
                  <a:sym typeface="+mn-lt"/>
                </a:endParaRPr>
              </a:p>
            </p:txBody>
          </p:sp>
          <p:sp>
            <p:nvSpPr>
              <p:cNvPr id="169" name="Freeform 78"/>
              <p:cNvSpPr/>
              <p:nvPr/>
            </p:nvSpPr>
            <p:spPr bwMode="auto">
              <a:xfrm>
                <a:off x="6249988" y="3302000"/>
                <a:ext cx="127000" cy="33338"/>
              </a:xfrm>
              <a:custGeom>
                <a:avLst/>
                <a:gdLst>
                  <a:gd name="T0" fmla="*/ 33 w 33"/>
                  <a:gd name="T1" fmla="*/ 7 h 9"/>
                  <a:gd name="T2" fmla="*/ 31 w 33"/>
                  <a:gd name="T3" fmla="*/ 9 h 9"/>
                  <a:gd name="T4" fmla="*/ 2 w 33"/>
                  <a:gd name="T5" fmla="*/ 9 h 9"/>
                  <a:gd name="T6" fmla="*/ 0 w 33"/>
                  <a:gd name="T7" fmla="*/ 7 h 9"/>
                  <a:gd name="T8" fmla="*/ 0 w 33"/>
                  <a:gd name="T9" fmla="*/ 3 h 9"/>
                  <a:gd name="T10" fmla="*/ 2 w 33"/>
                  <a:gd name="T11" fmla="*/ 0 h 9"/>
                  <a:gd name="T12" fmla="*/ 31 w 33"/>
                  <a:gd name="T13" fmla="*/ 0 h 9"/>
                  <a:gd name="T14" fmla="*/ 33 w 33"/>
                  <a:gd name="T15" fmla="*/ 3 h 9"/>
                  <a:gd name="T16" fmla="*/ 33 w 33"/>
                  <a:gd name="T17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9">
                    <a:moveTo>
                      <a:pt x="33" y="7"/>
                    </a:moveTo>
                    <a:cubicBezTo>
                      <a:pt x="33" y="8"/>
                      <a:pt x="32" y="9"/>
                      <a:pt x="31" y="9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1" y="9"/>
                      <a:pt x="0" y="8"/>
                      <a:pt x="0" y="7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2" y="0"/>
                    </a:cubicBezTo>
                    <a:cubicBezTo>
                      <a:pt x="31" y="0"/>
                      <a:pt x="31" y="0"/>
                      <a:pt x="31" y="0"/>
                    </a:cubicBezTo>
                    <a:cubicBezTo>
                      <a:pt x="32" y="0"/>
                      <a:pt x="33" y="1"/>
                      <a:pt x="33" y="3"/>
                    </a:cubicBezTo>
                    <a:lnTo>
                      <a:pt x="33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8576" tIns="34289" rIns="68576" bIns="34289" numCol="1" anchor="t" anchorCtr="0" compatLnSpc="1"/>
              <a:lstStyle/>
              <a:p>
                <a:endParaRPr lang="zh-CN" altLang="en-US" sz="1280">
                  <a:cs typeface="+mn-ea"/>
                  <a:sym typeface="+mn-lt"/>
                </a:endParaRPr>
              </a:p>
            </p:txBody>
          </p:sp>
          <p:sp>
            <p:nvSpPr>
              <p:cNvPr id="170" name="Oval 79"/>
              <p:cNvSpPr>
                <a:spLocks noChangeArrowheads="1"/>
              </p:cNvSpPr>
              <p:nvPr/>
            </p:nvSpPr>
            <p:spPr bwMode="auto">
              <a:xfrm>
                <a:off x="6230938" y="3302000"/>
                <a:ext cx="58738" cy="603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8576" tIns="34289" rIns="68576" bIns="34289" numCol="1" anchor="t" anchorCtr="0" compatLnSpc="1"/>
              <a:lstStyle/>
              <a:p>
                <a:endParaRPr lang="zh-CN" altLang="en-US" sz="1280">
                  <a:cs typeface="+mn-ea"/>
                  <a:sym typeface="+mn-lt"/>
                </a:endParaRPr>
              </a:p>
            </p:txBody>
          </p:sp>
          <p:sp>
            <p:nvSpPr>
              <p:cNvPr id="171" name="Oval 80"/>
              <p:cNvSpPr>
                <a:spLocks noChangeArrowheads="1"/>
              </p:cNvSpPr>
              <p:nvPr/>
            </p:nvSpPr>
            <p:spPr bwMode="auto">
              <a:xfrm>
                <a:off x="6338888" y="3302000"/>
                <a:ext cx="57150" cy="60325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8576" tIns="34289" rIns="68576" bIns="34289" numCol="1" anchor="t" anchorCtr="0" compatLnSpc="1"/>
              <a:lstStyle/>
              <a:p>
                <a:endParaRPr lang="zh-CN" altLang="en-US" sz="1280">
                  <a:cs typeface="+mn-ea"/>
                  <a:sym typeface="+mn-lt"/>
                </a:endParaRPr>
              </a:p>
            </p:txBody>
          </p:sp>
          <p:sp>
            <p:nvSpPr>
              <p:cNvPr id="172" name="Freeform 81"/>
              <p:cNvSpPr/>
              <p:nvPr/>
            </p:nvSpPr>
            <p:spPr bwMode="auto">
              <a:xfrm>
                <a:off x="5834063" y="3663950"/>
                <a:ext cx="527050" cy="22225"/>
              </a:xfrm>
              <a:custGeom>
                <a:avLst/>
                <a:gdLst>
                  <a:gd name="T0" fmla="*/ 138 w 138"/>
                  <a:gd name="T1" fmla="*/ 3 h 6"/>
                  <a:gd name="T2" fmla="*/ 135 w 138"/>
                  <a:gd name="T3" fmla="*/ 6 h 6"/>
                  <a:gd name="T4" fmla="*/ 3 w 138"/>
                  <a:gd name="T5" fmla="*/ 6 h 6"/>
                  <a:gd name="T6" fmla="*/ 0 w 138"/>
                  <a:gd name="T7" fmla="*/ 3 h 6"/>
                  <a:gd name="T8" fmla="*/ 0 w 138"/>
                  <a:gd name="T9" fmla="*/ 3 h 6"/>
                  <a:gd name="T10" fmla="*/ 3 w 138"/>
                  <a:gd name="T11" fmla="*/ 0 h 6"/>
                  <a:gd name="T12" fmla="*/ 135 w 138"/>
                  <a:gd name="T13" fmla="*/ 0 h 6"/>
                  <a:gd name="T14" fmla="*/ 138 w 138"/>
                  <a:gd name="T15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8" h="6">
                    <a:moveTo>
                      <a:pt x="138" y="3"/>
                    </a:moveTo>
                    <a:cubicBezTo>
                      <a:pt x="138" y="5"/>
                      <a:pt x="137" y="6"/>
                      <a:pt x="13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1" y="6"/>
                      <a:pt x="0" y="5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135" y="0"/>
                      <a:pt x="135" y="0"/>
                      <a:pt x="135" y="0"/>
                    </a:cubicBezTo>
                    <a:cubicBezTo>
                      <a:pt x="137" y="0"/>
                      <a:pt x="138" y="1"/>
                      <a:pt x="138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8576" tIns="34289" rIns="68576" bIns="34289" numCol="1" anchor="t" anchorCtr="0" compatLnSpc="1"/>
              <a:lstStyle/>
              <a:p>
                <a:endParaRPr lang="zh-CN" altLang="en-US" sz="1280">
                  <a:cs typeface="+mn-ea"/>
                  <a:sym typeface="+mn-lt"/>
                </a:endParaRPr>
              </a:p>
            </p:txBody>
          </p:sp>
          <p:sp>
            <p:nvSpPr>
              <p:cNvPr id="173" name="Freeform 82"/>
              <p:cNvSpPr/>
              <p:nvPr/>
            </p:nvSpPr>
            <p:spPr bwMode="auto">
              <a:xfrm>
                <a:off x="5834063" y="3694113"/>
                <a:ext cx="527050" cy="22225"/>
              </a:xfrm>
              <a:custGeom>
                <a:avLst/>
                <a:gdLst>
                  <a:gd name="T0" fmla="*/ 138 w 138"/>
                  <a:gd name="T1" fmla="*/ 3 h 6"/>
                  <a:gd name="T2" fmla="*/ 135 w 138"/>
                  <a:gd name="T3" fmla="*/ 6 h 6"/>
                  <a:gd name="T4" fmla="*/ 3 w 138"/>
                  <a:gd name="T5" fmla="*/ 6 h 6"/>
                  <a:gd name="T6" fmla="*/ 0 w 138"/>
                  <a:gd name="T7" fmla="*/ 3 h 6"/>
                  <a:gd name="T8" fmla="*/ 0 w 138"/>
                  <a:gd name="T9" fmla="*/ 3 h 6"/>
                  <a:gd name="T10" fmla="*/ 3 w 138"/>
                  <a:gd name="T11" fmla="*/ 0 h 6"/>
                  <a:gd name="T12" fmla="*/ 135 w 138"/>
                  <a:gd name="T13" fmla="*/ 0 h 6"/>
                  <a:gd name="T14" fmla="*/ 138 w 138"/>
                  <a:gd name="T15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8" h="6">
                    <a:moveTo>
                      <a:pt x="138" y="3"/>
                    </a:moveTo>
                    <a:cubicBezTo>
                      <a:pt x="138" y="5"/>
                      <a:pt x="137" y="6"/>
                      <a:pt x="13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1" y="6"/>
                      <a:pt x="0" y="5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135" y="0"/>
                      <a:pt x="135" y="0"/>
                      <a:pt x="135" y="0"/>
                    </a:cubicBezTo>
                    <a:cubicBezTo>
                      <a:pt x="137" y="0"/>
                      <a:pt x="138" y="1"/>
                      <a:pt x="138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8576" tIns="34289" rIns="68576" bIns="34289" numCol="1" anchor="t" anchorCtr="0" compatLnSpc="1"/>
              <a:lstStyle/>
              <a:p>
                <a:endParaRPr lang="zh-CN" altLang="en-US" sz="1280">
                  <a:cs typeface="+mn-ea"/>
                  <a:sym typeface="+mn-lt"/>
                </a:endParaRPr>
              </a:p>
            </p:txBody>
          </p:sp>
          <p:sp>
            <p:nvSpPr>
              <p:cNvPr id="174" name="Freeform 83"/>
              <p:cNvSpPr/>
              <p:nvPr/>
            </p:nvSpPr>
            <p:spPr bwMode="auto">
              <a:xfrm>
                <a:off x="5834063" y="3724275"/>
                <a:ext cx="527050" cy="22225"/>
              </a:xfrm>
              <a:custGeom>
                <a:avLst/>
                <a:gdLst>
                  <a:gd name="T0" fmla="*/ 138 w 138"/>
                  <a:gd name="T1" fmla="*/ 3 h 6"/>
                  <a:gd name="T2" fmla="*/ 135 w 138"/>
                  <a:gd name="T3" fmla="*/ 6 h 6"/>
                  <a:gd name="T4" fmla="*/ 3 w 138"/>
                  <a:gd name="T5" fmla="*/ 6 h 6"/>
                  <a:gd name="T6" fmla="*/ 0 w 138"/>
                  <a:gd name="T7" fmla="*/ 3 h 6"/>
                  <a:gd name="T8" fmla="*/ 0 w 138"/>
                  <a:gd name="T9" fmla="*/ 3 h 6"/>
                  <a:gd name="T10" fmla="*/ 3 w 138"/>
                  <a:gd name="T11" fmla="*/ 0 h 6"/>
                  <a:gd name="T12" fmla="*/ 135 w 138"/>
                  <a:gd name="T13" fmla="*/ 0 h 6"/>
                  <a:gd name="T14" fmla="*/ 138 w 138"/>
                  <a:gd name="T15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38" h="6">
                    <a:moveTo>
                      <a:pt x="138" y="3"/>
                    </a:moveTo>
                    <a:cubicBezTo>
                      <a:pt x="138" y="4"/>
                      <a:pt x="137" y="6"/>
                      <a:pt x="13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1" y="6"/>
                      <a:pt x="0" y="4"/>
                      <a:pt x="0" y="3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1"/>
                      <a:pt x="1" y="0"/>
                      <a:pt x="3" y="0"/>
                    </a:cubicBezTo>
                    <a:cubicBezTo>
                      <a:pt x="135" y="0"/>
                      <a:pt x="135" y="0"/>
                      <a:pt x="135" y="0"/>
                    </a:cubicBezTo>
                    <a:cubicBezTo>
                      <a:pt x="137" y="0"/>
                      <a:pt x="138" y="1"/>
                      <a:pt x="138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vert="horz" wrap="square" lIns="68576" tIns="34289" rIns="68576" bIns="34289" numCol="1" anchor="t" anchorCtr="0" compatLnSpc="1"/>
              <a:lstStyle/>
              <a:p>
                <a:endParaRPr lang="zh-CN" altLang="en-US" sz="1280">
                  <a:cs typeface="+mn-ea"/>
                  <a:sym typeface="+mn-lt"/>
                </a:endParaRPr>
              </a:p>
            </p:txBody>
          </p:sp>
        </p:grpSp>
      </p:grpSp>
      <p:sp>
        <p:nvSpPr>
          <p:cNvPr id="175" name="TextBox 39"/>
          <p:cNvSpPr txBox="1"/>
          <p:nvPr/>
        </p:nvSpPr>
        <p:spPr>
          <a:xfrm>
            <a:off x="4433588" y="1425190"/>
            <a:ext cx="3757219" cy="6523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350" dirty="0">
                <a:solidFill>
                  <a:srgbClr val="7F7F7F"/>
                </a:solidFill>
                <a:cs typeface="+mn-ea"/>
                <a:sym typeface="+mn-lt"/>
              </a:rPr>
              <a:t>Add title text</a:t>
            </a:r>
            <a:endParaRPr lang="zh-CN" altLang="en-US" sz="1350" dirty="0">
              <a:solidFill>
                <a:srgbClr val="7F7F7F"/>
              </a:solidFill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rgbClr val="7F7F7F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050" dirty="0">
              <a:solidFill>
                <a:srgbClr val="7F7F7F"/>
              </a:solidFill>
              <a:cs typeface="+mn-ea"/>
              <a:sym typeface="+mn-lt"/>
            </a:endParaRPr>
          </a:p>
        </p:txBody>
      </p:sp>
      <p:sp>
        <p:nvSpPr>
          <p:cNvPr id="176" name="TextBox 39"/>
          <p:cNvSpPr txBox="1"/>
          <p:nvPr/>
        </p:nvSpPr>
        <p:spPr>
          <a:xfrm>
            <a:off x="4433588" y="2137357"/>
            <a:ext cx="3757219" cy="6523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350" dirty="0">
                <a:solidFill>
                  <a:srgbClr val="7F7F7F"/>
                </a:solidFill>
                <a:cs typeface="+mn-ea"/>
                <a:sym typeface="+mn-lt"/>
              </a:rPr>
              <a:t>Add title text</a:t>
            </a:r>
            <a:endParaRPr lang="zh-CN" altLang="en-US" sz="1350" dirty="0">
              <a:solidFill>
                <a:srgbClr val="7F7F7F"/>
              </a:solidFill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rgbClr val="7F7F7F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rgbClr val="7F7F7F"/>
              </a:solidFill>
              <a:cs typeface="+mn-ea"/>
              <a:sym typeface="+mn-lt"/>
            </a:endParaRPr>
          </a:p>
        </p:txBody>
      </p:sp>
      <p:sp>
        <p:nvSpPr>
          <p:cNvPr id="177" name="TextBox 39"/>
          <p:cNvSpPr txBox="1"/>
          <p:nvPr/>
        </p:nvSpPr>
        <p:spPr>
          <a:xfrm>
            <a:off x="4433588" y="2849524"/>
            <a:ext cx="3757219" cy="6523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350" dirty="0">
                <a:solidFill>
                  <a:srgbClr val="7F7F7F"/>
                </a:solidFill>
                <a:cs typeface="+mn-ea"/>
                <a:sym typeface="+mn-lt"/>
              </a:rPr>
              <a:t>Add title text</a:t>
            </a:r>
            <a:endParaRPr lang="zh-CN" altLang="en-US" sz="1350" dirty="0">
              <a:solidFill>
                <a:srgbClr val="7F7F7F"/>
              </a:solidFill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rgbClr val="7F7F7F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rgbClr val="7F7F7F"/>
              </a:solidFill>
              <a:cs typeface="+mn-ea"/>
              <a:sym typeface="+mn-lt"/>
            </a:endParaRPr>
          </a:p>
        </p:txBody>
      </p:sp>
      <p:sp>
        <p:nvSpPr>
          <p:cNvPr id="178" name="TextBox 39"/>
          <p:cNvSpPr txBox="1"/>
          <p:nvPr/>
        </p:nvSpPr>
        <p:spPr>
          <a:xfrm>
            <a:off x="4433588" y="3561691"/>
            <a:ext cx="3757219" cy="6523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350" dirty="0">
                <a:solidFill>
                  <a:srgbClr val="7F7F7F"/>
                </a:solidFill>
                <a:cs typeface="+mn-ea"/>
                <a:sym typeface="+mn-lt"/>
              </a:rPr>
              <a:t>Add title text</a:t>
            </a:r>
            <a:endParaRPr lang="zh-CN" altLang="en-US" sz="1350" dirty="0">
              <a:solidFill>
                <a:srgbClr val="7F7F7F"/>
              </a:solidFill>
              <a:cs typeface="+mn-ea"/>
              <a:sym typeface="+mn-lt"/>
            </a:endParaRPr>
          </a:p>
          <a:p>
            <a:pPr>
              <a:lnSpc>
                <a:spcPct val="150000"/>
              </a:lnSpc>
            </a:pPr>
            <a:r>
              <a:rPr lang="en-US" altLang="zh-CN" sz="1200" dirty="0">
                <a:solidFill>
                  <a:srgbClr val="7F7F7F"/>
                </a:solidFill>
                <a:cs typeface="+mn-ea"/>
                <a:sym typeface="+mn-lt"/>
              </a:rPr>
              <a:t>Click here to add content, content to match the title. </a:t>
            </a:r>
            <a:endParaRPr lang="zh-CN" altLang="en-US" sz="1200" dirty="0">
              <a:solidFill>
                <a:srgbClr val="7F7F7F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400" tmFilter="0,0; .5, 1; 1, 1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280"/>
                            </p:stCondLst>
                            <p:childTnLst>
                              <p:par>
                                <p:cTn id="1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280"/>
                            </p:stCondLst>
                            <p:childTnLst>
                              <p:par>
                                <p:cTn id="1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1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780"/>
                            </p:stCondLst>
                            <p:childTnLst>
                              <p:par>
                                <p:cTn id="2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5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280"/>
                            </p:stCondLst>
                            <p:childTnLst>
                              <p:par>
                                <p:cTn id="2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1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780"/>
                            </p:stCondLst>
                            <p:childTnLst>
                              <p:par>
                                <p:cTn id="3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1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75" grpId="0"/>
      <p:bldP spid="176" grpId="0"/>
      <p:bldP spid="177" grpId="0"/>
      <p:bldP spid="17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38646"/>
            <a:ext cx="9144000" cy="5144038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735" y="289649"/>
            <a:ext cx="9144000" cy="5144038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652084" y="-38646"/>
            <a:ext cx="1491916" cy="1049299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2042667"/>
            <a:ext cx="9144000" cy="3078298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817305"/>
            <a:ext cx="9144000" cy="3303660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2180" y="673218"/>
            <a:ext cx="4739639" cy="186015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3751831" y="902572"/>
            <a:ext cx="2540686" cy="135421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defTabSz="68516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4400" b="1" dirty="0">
                <a:solidFill>
                  <a:schemeClr val="accent2"/>
                </a:solidFill>
                <a:cs typeface="+mn-ea"/>
                <a:sym typeface="+mn-lt"/>
              </a:rPr>
              <a:t>Teaching </a:t>
            </a:r>
          </a:p>
          <a:p>
            <a:pPr defTabSz="68516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4400" b="1" dirty="0">
                <a:solidFill>
                  <a:schemeClr val="accent2"/>
                </a:solidFill>
                <a:cs typeface="+mn-ea"/>
                <a:sym typeface="+mn-lt"/>
              </a:rPr>
              <a:t>Reflection</a:t>
            </a:r>
            <a:endParaRPr lang="zh-CN" altLang="en-US" sz="4400" b="1" dirty="0">
              <a:solidFill>
                <a:schemeClr val="accent2"/>
              </a:solidFill>
              <a:cs typeface="+mn-ea"/>
              <a:sym typeface="+mn-lt"/>
            </a:endParaRP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899610" y="1284908"/>
            <a:ext cx="733926" cy="589547"/>
          </a:xfrm>
          <a:prstGeom prst="rect">
            <a:avLst/>
          </a:prstGeom>
        </p:spPr>
      </p:pic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56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40" dur="3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41" dur="3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42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43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95122" y="366435"/>
            <a:ext cx="4739639" cy="4328912"/>
          </a:xfrm>
          <a:prstGeom prst="rect">
            <a:avLst/>
          </a:prstGeom>
        </p:spPr>
      </p:pic>
      <p:sp>
        <p:nvSpPr>
          <p:cNvPr id="5" name="TextBox 50"/>
          <p:cNvSpPr txBox="1"/>
          <p:nvPr/>
        </p:nvSpPr>
        <p:spPr>
          <a:xfrm>
            <a:off x="700584" y="916822"/>
            <a:ext cx="263333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4000" b="1" dirty="0">
                <a:solidFill>
                  <a:schemeClr val="accent2"/>
                </a:solidFill>
                <a:cs typeface="+mn-ea"/>
                <a:sym typeface="+mn-lt"/>
              </a:rPr>
              <a:t>CONTENTS</a:t>
            </a:r>
            <a:endParaRPr lang="zh-CN" altLang="en-US" sz="4000" b="1" dirty="0">
              <a:solidFill>
                <a:schemeClr val="accent2"/>
              </a:solidFill>
              <a:cs typeface="+mn-ea"/>
              <a:sym typeface="+mn-lt"/>
            </a:endParaRPr>
          </a:p>
        </p:txBody>
      </p:sp>
      <p:sp>
        <p:nvSpPr>
          <p:cNvPr id="9" name="文本框 3"/>
          <p:cNvSpPr txBox="1">
            <a:spLocks noChangeArrowheads="1"/>
          </p:cNvSpPr>
          <p:nvPr/>
        </p:nvSpPr>
        <p:spPr bwMode="auto">
          <a:xfrm>
            <a:off x="4367119" y="1245695"/>
            <a:ext cx="2913267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sz="2000" b="1">
                <a:gradFill>
                  <a:gsLst>
                    <a:gs pos="100000">
                      <a:schemeClr val="tx2"/>
                    </a:gs>
                    <a:gs pos="0">
                      <a:schemeClr val="accent2"/>
                    </a:gs>
                  </a:gsLst>
                  <a:path path="circle">
                    <a:fillToRect l="50000" t="50000" r="50000" b="50000"/>
                  </a:path>
                </a:gra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>
                <a:solidFill>
                  <a:schemeClr val="accent2"/>
                </a:solidFill>
                <a:latin typeface="+mn-lt"/>
                <a:ea typeface="+mn-ea"/>
                <a:cs typeface="+mn-ea"/>
                <a:sym typeface="+mn-lt"/>
              </a:rPr>
              <a:t>01   Teaching Analysis</a:t>
            </a:r>
            <a:endParaRPr lang="zh-CN" altLang="zh-CN" dirty="0">
              <a:solidFill>
                <a:schemeClr val="accent2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2" name="文本框 3"/>
          <p:cNvSpPr txBox="1">
            <a:spLocks noChangeArrowheads="1"/>
          </p:cNvSpPr>
          <p:nvPr/>
        </p:nvSpPr>
        <p:spPr bwMode="auto">
          <a:xfrm>
            <a:off x="4367119" y="1940115"/>
            <a:ext cx="2913267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sz="2000" b="1">
                <a:gradFill>
                  <a:gsLst>
                    <a:gs pos="100000">
                      <a:schemeClr val="tx2"/>
                    </a:gs>
                    <a:gs pos="0">
                      <a:schemeClr val="accent2"/>
                    </a:gs>
                  </a:gsLst>
                  <a:path path="circle">
                    <a:fillToRect l="50000" t="50000" r="50000" b="50000"/>
                  </a:path>
                </a:gra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>
                <a:solidFill>
                  <a:schemeClr val="accent4"/>
                </a:solidFill>
                <a:latin typeface="+mn-lt"/>
                <a:ea typeface="+mn-ea"/>
                <a:cs typeface="+mn-ea"/>
                <a:sym typeface="+mn-lt"/>
              </a:rPr>
              <a:t>02   Instructional Design</a:t>
            </a:r>
            <a:endParaRPr lang="zh-CN" altLang="zh-CN" dirty="0">
              <a:solidFill>
                <a:schemeClr val="accent4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5" name="文本框 3"/>
          <p:cNvSpPr txBox="1">
            <a:spLocks noChangeArrowheads="1"/>
          </p:cNvSpPr>
          <p:nvPr/>
        </p:nvSpPr>
        <p:spPr bwMode="auto">
          <a:xfrm>
            <a:off x="4367119" y="2665193"/>
            <a:ext cx="2913267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sz="2000" b="1">
                <a:gradFill>
                  <a:gsLst>
                    <a:gs pos="100000">
                      <a:schemeClr val="tx2"/>
                    </a:gs>
                    <a:gs pos="0">
                      <a:schemeClr val="accent2"/>
                    </a:gs>
                  </a:gsLst>
                  <a:path path="circle">
                    <a:fillToRect l="50000" t="50000" r="50000" b="50000"/>
                  </a:path>
                </a:gra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>
                <a:solidFill>
                  <a:schemeClr val="accent2"/>
                </a:solidFill>
                <a:latin typeface="+mn-lt"/>
                <a:ea typeface="+mn-ea"/>
                <a:cs typeface="+mn-ea"/>
                <a:sym typeface="+mn-lt"/>
              </a:rPr>
              <a:t>03   Teaching Process</a:t>
            </a:r>
            <a:endParaRPr lang="zh-CN" altLang="zh-CN" dirty="0">
              <a:solidFill>
                <a:schemeClr val="accent2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8" name="文本框 3"/>
          <p:cNvSpPr txBox="1">
            <a:spLocks noChangeArrowheads="1"/>
          </p:cNvSpPr>
          <p:nvPr/>
        </p:nvSpPr>
        <p:spPr bwMode="auto">
          <a:xfrm>
            <a:off x="4367119" y="3361622"/>
            <a:ext cx="2913267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zh-CN"/>
            </a:defPPr>
            <a:lvl1pPr>
              <a:defRPr sz="2000" b="1">
                <a:gradFill>
                  <a:gsLst>
                    <a:gs pos="100000">
                      <a:schemeClr val="tx2"/>
                    </a:gs>
                    <a:gs pos="0">
                      <a:schemeClr val="accent2"/>
                    </a:gs>
                  </a:gsLst>
                  <a:path path="circle">
                    <a:fillToRect l="50000" t="50000" r="50000" b="50000"/>
                  </a:path>
                </a:gra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dirty="0">
                <a:solidFill>
                  <a:schemeClr val="accent4"/>
                </a:solidFill>
                <a:latin typeface="+mn-lt"/>
                <a:ea typeface="+mn-ea"/>
                <a:cs typeface="+mn-ea"/>
                <a:sym typeface="+mn-lt"/>
              </a:rPr>
              <a:t>04   Teaching Reflection</a:t>
            </a:r>
            <a:endParaRPr lang="zh-CN" altLang="zh-CN" dirty="0">
              <a:solidFill>
                <a:schemeClr val="accent4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25194" y="2576081"/>
            <a:ext cx="4473403" cy="2820576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366"/>
          <a:stretch>
            <a:fillRect/>
          </a:stretch>
        </p:blipFill>
        <p:spPr>
          <a:xfrm>
            <a:off x="472850" y="1500313"/>
            <a:ext cx="1494312" cy="1402823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802736" y="245403"/>
            <a:ext cx="1442148" cy="1342838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76532" y="1187485"/>
            <a:ext cx="733926" cy="589547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76532" y="1910991"/>
            <a:ext cx="733926" cy="589547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76532" y="2636544"/>
            <a:ext cx="733926" cy="589547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676532" y="3342375"/>
            <a:ext cx="733926" cy="589547"/>
          </a:xfrm>
          <a:prstGeom prst="rect">
            <a:avLst/>
          </a:prstGeom>
        </p:spPr>
      </p:pic>
      <p:sp>
        <p:nvSpPr>
          <p:cNvPr id="20" name="TextBox 4">
            <a:extLst>
              <a:ext uri="{FF2B5EF4-FFF2-40B4-BE49-F238E27FC236}">
                <a16:creationId xmlns:a16="http://schemas.microsoft.com/office/drawing/2014/main" id="{EB684C7E-20A7-9694-F2D4-694B922B40F4}"/>
              </a:ext>
            </a:extLst>
          </p:cNvPr>
          <p:cNvSpPr txBox="1"/>
          <p:nvPr/>
        </p:nvSpPr>
        <p:spPr>
          <a:xfrm>
            <a:off x="0" y="4"/>
            <a:ext cx="453650" cy="1231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100" dirty="0">
                <a:solidFill>
                  <a:schemeClr val="tx1">
                    <a:alpha val="0"/>
                  </a:schemeClr>
                </a:solidFill>
                <a:cs typeface="+mn-ea"/>
                <a:sym typeface="+mn-lt"/>
              </a:rPr>
              <a:t>行业</a:t>
            </a:r>
            <a:r>
              <a:rPr lang="en-US" altLang="zh-CN" sz="100" dirty="0">
                <a:solidFill>
                  <a:schemeClr val="tx1">
                    <a:alpha val="0"/>
                  </a:schemeClr>
                </a:solidFill>
                <a:cs typeface="+mn-ea"/>
                <a:sym typeface="+mn-lt"/>
              </a:rPr>
              <a:t>PPT</a:t>
            </a:r>
            <a:r>
              <a:rPr lang="zh-CN" altLang="en-US" sz="100" dirty="0">
                <a:solidFill>
                  <a:schemeClr val="tx1">
                    <a:alpha val="0"/>
                  </a:schemeClr>
                </a:solidFill>
                <a:cs typeface="+mn-ea"/>
                <a:sym typeface="+mn-lt"/>
              </a:rPr>
              <a:t>模板</a:t>
            </a:r>
            <a:r>
              <a:rPr lang="en-US" altLang="zh-CN" sz="100" dirty="0">
                <a:solidFill>
                  <a:schemeClr val="tx1">
                    <a:alpha val="0"/>
                  </a:schemeClr>
                </a:solidFill>
                <a:cs typeface="+mn-ea"/>
                <a:sym typeface="+mn-lt"/>
              </a:rPr>
              <a:t>http://www.1ppt.com/hangye/</a:t>
            </a:r>
          </a:p>
        </p:txBody>
      </p:sp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9" grpId="0"/>
      <p:bldP spid="12" grpId="0"/>
      <p:bldP spid="15" grpId="0"/>
      <p:bldP spid="18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31"/>
          <p:cNvSpPr txBox="1"/>
          <p:nvPr/>
        </p:nvSpPr>
        <p:spPr>
          <a:xfrm>
            <a:off x="1967706" y="146950"/>
            <a:ext cx="5208588" cy="646331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defPPr>
              <a:defRPr lang="zh-CN"/>
            </a:defPPr>
            <a:lvl1pPr lvl="0">
              <a:defRPr sz="3600" b="1">
                <a:solidFill>
                  <a:schemeClr val="accent2"/>
                </a:solidFill>
                <a:cs typeface="+mn-ea"/>
              </a:defRPr>
            </a:lvl1pPr>
          </a:lstStyle>
          <a:p>
            <a:pPr algn="ctr"/>
            <a:r>
              <a:rPr lang="en-US" altLang="zh-CN" dirty="0">
                <a:sym typeface="+mn-lt"/>
              </a:rPr>
              <a:t>Student-Centered</a:t>
            </a:r>
            <a:endParaRPr lang="zh-CN" altLang="en-US" dirty="0">
              <a:sym typeface="+mn-lt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354451" y="1485301"/>
            <a:ext cx="7300748" cy="2859831"/>
            <a:chOff x="1857" y="2478"/>
            <a:chExt cx="16869" cy="6608"/>
          </a:xfrm>
        </p:grpSpPr>
        <p:sp>
          <p:nvSpPr>
            <p:cNvPr id="133" name="Freeform: Shape 128"/>
            <p:cNvSpPr/>
            <p:nvPr/>
          </p:nvSpPr>
          <p:spPr bwMode="auto">
            <a:xfrm>
              <a:off x="4858" y="7303"/>
              <a:ext cx="2247" cy="1737"/>
            </a:xfrm>
            <a:custGeom>
              <a:avLst/>
              <a:gdLst>
                <a:gd name="T0" fmla="*/ 4130 w 5342"/>
                <a:gd name="T1" fmla="*/ 0 h 4133"/>
                <a:gd name="T2" fmla="*/ 4130 w 5342"/>
                <a:gd name="T3" fmla="*/ 0 h 4133"/>
                <a:gd name="T4" fmla="*/ 3142 w 5342"/>
                <a:gd name="T5" fmla="*/ 0 h 4133"/>
                <a:gd name="T6" fmla="*/ 2199 w 5342"/>
                <a:gd name="T7" fmla="*/ 0 h 4133"/>
                <a:gd name="T8" fmla="*/ 1211 w 5342"/>
                <a:gd name="T9" fmla="*/ 0 h 4133"/>
                <a:gd name="T10" fmla="*/ 0 w 5342"/>
                <a:gd name="T11" fmla="*/ 4132 h 4133"/>
                <a:gd name="T12" fmla="*/ 2199 w 5342"/>
                <a:gd name="T13" fmla="*/ 4132 h 4133"/>
                <a:gd name="T14" fmla="*/ 3142 w 5342"/>
                <a:gd name="T15" fmla="*/ 4132 h 4133"/>
                <a:gd name="T16" fmla="*/ 5341 w 5342"/>
                <a:gd name="T17" fmla="*/ 4132 h 4133"/>
                <a:gd name="T18" fmla="*/ 4130 w 5342"/>
                <a:gd name="T19" fmla="*/ 0 h 4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342" h="4133">
                  <a:moveTo>
                    <a:pt x="4130" y="0"/>
                  </a:moveTo>
                  <a:lnTo>
                    <a:pt x="4130" y="0"/>
                  </a:lnTo>
                  <a:cubicBezTo>
                    <a:pt x="3142" y="0"/>
                    <a:pt x="3142" y="0"/>
                    <a:pt x="3142" y="0"/>
                  </a:cubicBezTo>
                  <a:cubicBezTo>
                    <a:pt x="2199" y="0"/>
                    <a:pt x="2199" y="0"/>
                    <a:pt x="2199" y="0"/>
                  </a:cubicBezTo>
                  <a:cubicBezTo>
                    <a:pt x="1211" y="0"/>
                    <a:pt x="1211" y="0"/>
                    <a:pt x="1211" y="0"/>
                  </a:cubicBezTo>
                  <a:cubicBezTo>
                    <a:pt x="1211" y="0"/>
                    <a:pt x="1451" y="4132"/>
                    <a:pt x="0" y="4132"/>
                  </a:cubicBezTo>
                  <a:cubicBezTo>
                    <a:pt x="2199" y="4132"/>
                    <a:pt x="2199" y="4132"/>
                    <a:pt x="2199" y="4132"/>
                  </a:cubicBezTo>
                  <a:cubicBezTo>
                    <a:pt x="3142" y="4132"/>
                    <a:pt x="3142" y="4132"/>
                    <a:pt x="3142" y="4132"/>
                  </a:cubicBezTo>
                  <a:cubicBezTo>
                    <a:pt x="5341" y="4132"/>
                    <a:pt x="5341" y="4132"/>
                    <a:pt x="5341" y="4132"/>
                  </a:cubicBezTo>
                  <a:cubicBezTo>
                    <a:pt x="3890" y="4132"/>
                    <a:pt x="4130" y="0"/>
                    <a:pt x="4130" y="0"/>
                  </a:cubicBezTo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4" name="Freeform: Shape 129"/>
            <p:cNvSpPr/>
            <p:nvPr/>
          </p:nvSpPr>
          <p:spPr bwMode="auto">
            <a:xfrm>
              <a:off x="1857" y="2849"/>
              <a:ext cx="8246" cy="5412"/>
            </a:xfrm>
            <a:custGeom>
              <a:avLst/>
              <a:gdLst>
                <a:gd name="T0" fmla="*/ 19054 w 19590"/>
                <a:gd name="T1" fmla="*/ 0 h 12867"/>
                <a:gd name="T2" fmla="*/ 19054 w 19590"/>
                <a:gd name="T3" fmla="*/ 0 h 12867"/>
                <a:gd name="T4" fmla="*/ 534 w 19590"/>
                <a:gd name="T5" fmla="*/ 0 h 12867"/>
                <a:gd name="T6" fmla="*/ 0 w 19590"/>
                <a:gd name="T7" fmla="*/ 534 h 12867"/>
                <a:gd name="T8" fmla="*/ 0 w 19590"/>
                <a:gd name="T9" fmla="*/ 11450 h 12867"/>
                <a:gd name="T10" fmla="*/ 0 w 19590"/>
                <a:gd name="T11" fmla="*/ 11557 h 12867"/>
                <a:gd name="T12" fmla="*/ 0 w 19590"/>
                <a:gd name="T13" fmla="*/ 12403 h 12867"/>
                <a:gd name="T14" fmla="*/ 463 w 19590"/>
                <a:gd name="T15" fmla="*/ 12866 h 12867"/>
                <a:gd name="T16" fmla="*/ 19126 w 19590"/>
                <a:gd name="T17" fmla="*/ 12866 h 12867"/>
                <a:gd name="T18" fmla="*/ 19589 w 19590"/>
                <a:gd name="T19" fmla="*/ 12403 h 12867"/>
                <a:gd name="T20" fmla="*/ 19589 w 19590"/>
                <a:gd name="T21" fmla="*/ 11557 h 12867"/>
                <a:gd name="T22" fmla="*/ 19589 w 19590"/>
                <a:gd name="T23" fmla="*/ 11450 h 12867"/>
                <a:gd name="T24" fmla="*/ 19589 w 19590"/>
                <a:gd name="T25" fmla="*/ 534 h 12867"/>
                <a:gd name="T26" fmla="*/ 19054 w 19590"/>
                <a:gd name="T27" fmla="*/ 0 h 12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590" h="12867">
                  <a:moveTo>
                    <a:pt x="19054" y="0"/>
                  </a:moveTo>
                  <a:lnTo>
                    <a:pt x="19054" y="0"/>
                  </a:lnTo>
                  <a:cubicBezTo>
                    <a:pt x="534" y="0"/>
                    <a:pt x="534" y="0"/>
                    <a:pt x="534" y="0"/>
                  </a:cubicBezTo>
                  <a:cubicBezTo>
                    <a:pt x="240" y="0"/>
                    <a:pt x="0" y="240"/>
                    <a:pt x="0" y="534"/>
                  </a:cubicBezTo>
                  <a:cubicBezTo>
                    <a:pt x="0" y="11450"/>
                    <a:pt x="0" y="11450"/>
                    <a:pt x="0" y="11450"/>
                  </a:cubicBezTo>
                  <a:cubicBezTo>
                    <a:pt x="0" y="11557"/>
                    <a:pt x="0" y="11557"/>
                    <a:pt x="0" y="11557"/>
                  </a:cubicBezTo>
                  <a:cubicBezTo>
                    <a:pt x="0" y="12403"/>
                    <a:pt x="0" y="12403"/>
                    <a:pt x="0" y="12403"/>
                  </a:cubicBezTo>
                  <a:cubicBezTo>
                    <a:pt x="0" y="12661"/>
                    <a:pt x="205" y="12866"/>
                    <a:pt x="463" y="12866"/>
                  </a:cubicBezTo>
                  <a:cubicBezTo>
                    <a:pt x="19126" y="12866"/>
                    <a:pt x="19126" y="12866"/>
                    <a:pt x="19126" y="12866"/>
                  </a:cubicBezTo>
                  <a:cubicBezTo>
                    <a:pt x="19384" y="12866"/>
                    <a:pt x="19589" y="12661"/>
                    <a:pt x="19589" y="12403"/>
                  </a:cubicBezTo>
                  <a:cubicBezTo>
                    <a:pt x="19589" y="11557"/>
                    <a:pt x="19589" y="11557"/>
                    <a:pt x="19589" y="11557"/>
                  </a:cubicBezTo>
                  <a:cubicBezTo>
                    <a:pt x="19589" y="11450"/>
                    <a:pt x="19589" y="11450"/>
                    <a:pt x="19589" y="11450"/>
                  </a:cubicBezTo>
                  <a:cubicBezTo>
                    <a:pt x="19589" y="534"/>
                    <a:pt x="19589" y="534"/>
                    <a:pt x="19589" y="534"/>
                  </a:cubicBezTo>
                  <a:cubicBezTo>
                    <a:pt x="19589" y="240"/>
                    <a:pt x="19348" y="0"/>
                    <a:pt x="19054" y="0"/>
                  </a:cubicBezTo>
                </a:path>
              </a:pathLst>
            </a:cu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6" name="Freeform: Shape 131"/>
            <p:cNvSpPr/>
            <p:nvPr/>
          </p:nvSpPr>
          <p:spPr bwMode="auto">
            <a:xfrm>
              <a:off x="2125" y="7210"/>
              <a:ext cx="7715" cy="243"/>
            </a:xfrm>
            <a:custGeom>
              <a:avLst/>
              <a:gdLst>
                <a:gd name="T0" fmla="*/ 18324 w 18325"/>
                <a:gd name="T1" fmla="*/ 579 h 580"/>
                <a:gd name="T2" fmla="*/ 0 w 18325"/>
                <a:gd name="T3" fmla="*/ 579 h 580"/>
                <a:gd name="T4" fmla="*/ 0 w 18325"/>
                <a:gd name="T5" fmla="*/ 0 h 580"/>
                <a:gd name="T6" fmla="*/ 18324 w 18325"/>
                <a:gd name="T7" fmla="*/ 0 h 580"/>
                <a:gd name="T8" fmla="*/ 18324 w 18325"/>
                <a:gd name="T9" fmla="*/ 579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25" h="580">
                  <a:moveTo>
                    <a:pt x="18324" y="579"/>
                  </a:moveTo>
                  <a:lnTo>
                    <a:pt x="0" y="579"/>
                  </a:lnTo>
                  <a:lnTo>
                    <a:pt x="0" y="0"/>
                  </a:lnTo>
                  <a:lnTo>
                    <a:pt x="18324" y="0"/>
                  </a:lnTo>
                  <a:lnTo>
                    <a:pt x="18324" y="579"/>
                  </a:lnTo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7" name="Freeform: Shape 132"/>
            <p:cNvSpPr/>
            <p:nvPr/>
          </p:nvSpPr>
          <p:spPr bwMode="auto">
            <a:xfrm>
              <a:off x="5780" y="7644"/>
              <a:ext cx="403" cy="403"/>
            </a:xfrm>
            <a:custGeom>
              <a:avLst/>
              <a:gdLst>
                <a:gd name="T0" fmla="*/ 961 w 962"/>
                <a:gd name="T1" fmla="*/ 481 h 963"/>
                <a:gd name="T2" fmla="*/ 961 w 962"/>
                <a:gd name="T3" fmla="*/ 481 h 963"/>
                <a:gd name="T4" fmla="*/ 481 w 962"/>
                <a:gd name="T5" fmla="*/ 962 h 963"/>
                <a:gd name="T6" fmla="*/ 0 w 962"/>
                <a:gd name="T7" fmla="*/ 481 h 963"/>
                <a:gd name="T8" fmla="*/ 481 w 962"/>
                <a:gd name="T9" fmla="*/ 0 h 963"/>
                <a:gd name="T10" fmla="*/ 961 w 962"/>
                <a:gd name="T11" fmla="*/ 481 h 9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62" h="963">
                  <a:moveTo>
                    <a:pt x="961" y="481"/>
                  </a:moveTo>
                  <a:lnTo>
                    <a:pt x="961" y="481"/>
                  </a:lnTo>
                  <a:cubicBezTo>
                    <a:pt x="961" y="748"/>
                    <a:pt x="747" y="962"/>
                    <a:pt x="481" y="962"/>
                  </a:cubicBezTo>
                  <a:cubicBezTo>
                    <a:pt x="214" y="962"/>
                    <a:pt x="0" y="748"/>
                    <a:pt x="0" y="481"/>
                  </a:cubicBezTo>
                  <a:cubicBezTo>
                    <a:pt x="0" y="214"/>
                    <a:pt x="214" y="0"/>
                    <a:pt x="481" y="0"/>
                  </a:cubicBezTo>
                  <a:cubicBezTo>
                    <a:pt x="747" y="0"/>
                    <a:pt x="961" y="214"/>
                    <a:pt x="961" y="481"/>
                  </a:cubicBezTo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8" name="Freeform: Shape 133"/>
            <p:cNvSpPr/>
            <p:nvPr/>
          </p:nvSpPr>
          <p:spPr bwMode="auto">
            <a:xfrm>
              <a:off x="4835" y="9008"/>
              <a:ext cx="2293" cy="78"/>
            </a:xfrm>
            <a:custGeom>
              <a:avLst/>
              <a:gdLst>
                <a:gd name="T0" fmla="*/ 5448 w 5449"/>
                <a:gd name="T1" fmla="*/ 187 h 188"/>
                <a:gd name="T2" fmla="*/ 0 w 5449"/>
                <a:gd name="T3" fmla="*/ 187 h 188"/>
                <a:gd name="T4" fmla="*/ 0 w 5449"/>
                <a:gd name="T5" fmla="*/ 0 h 188"/>
                <a:gd name="T6" fmla="*/ 5448 w 5449"/>
                <a:gd name="T7" fmla="*/ 0 h 188"/>
                <a:gd name="T8" fmla="*/ 5448 w 5449"/>
                <a:gd name="T9" fmla="*/ 187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49" h="188">
                  <a:moveTo>
                    <a:pt x="5448" y="187"/>
                  </a:moveTo>
                  <a:lnTo>
                    <a:pt x="0" y="187"/>
                  </a:lnTo>
                  <a:lnTo>
                    <a:pt x="0" y="0"/>
                  </a:lnTo>
                  <a:lnTo>
                    <a:pt x="5448" y="0"/>
                  </a:lnTo>
                  <a:lnTo>
                    <a:pt x="5448" y="187"/>
                  </a:lnTo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grpSp>
          <p:nvGrpSpPr>
            <p:cNvPr id="162" name="组合 161"/>
            <p:cNvGrpSpPr/>
            <p:nvPr/>
          </p:nvGrpSpPr>
          <p:grpSpPr>
            <a:xfrm>
              <a:off x="10762" y="2478"/>
              <a:ext cx="7317" cy="2117"/>
              <a:chOff x="1039083" y="1541373"/>
              <a:chExt cx="4646303" cy="1344277"/>
            </a:xfrm>
          </p:grpSpPr>
          <p:grpSp>
            <p:nvGrpSpPr>
              <p:cNvPr id="163" name="组合 162"/>
              <p:cNvGrpSpPr/>
              <p:nvPr/>
            </p:nvGrpSpPr>
            <p:grpSpPr>
              <a:xfrm>
                <a:off x="1965087" y="1541373"/>
                <a:ext cx="3720299" cy="1344277"/>
                <a:chOff x="6723970" y="2531096"/>
                <a:chExt cx="3720299" cy="1344277"/>
              </a:xfrm>
            </p:grpSpPr>
            <p:sp>
              <p:nvSpPr>
                <p:cNvPr id="166" name="矩形 165"/>
                <p:cNvSpPr/>
                <p:nvPr/>
              </p:nvSpPr>
              <p:spPr>
                <a:xfrm>
                  <a:off x="6723970" y="3012766"/>
                  <a:ext cx="3720299" cy="862607"/>
                </a:xfrm>
                <a:prstGeom prst="rect">
                  <a:avLst/>
                </a:prstGeom>
              </p:spPr>
              <p:txBody>
                <a:bodyPr wrap="square">
                  <a:spAutoFit/>
                  <a:scene3d>
                    <a:camera prst="orthographicFront"/>
                    <a:lightRig rig="threePt" dir="t"/>
                  </a:scene3d>
                  <a:sp3d contourW="127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just">
                    <a:lnSpc>
                      <a:spcPct val="120000"/>
                    </a:lnSpc>
                  </a:pPr>
                  <a:r>
                    <a:rPr lang="en-US" altLang="zh-CN" sz="1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cs typeface="+mn-ea"/>
                      <a:sym typeface="+mn-lt"/>
                    </a:rPr>
                    <a:t>Click here to add content, content to match the title. </a:t>
                  </a:r>
                  <a:endParaRPr lang="zh-CN" alt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167" name="矩形 166"/>
                <p:cNvSpPr/>
                <p:nvPr/>
              </p:nvSpPr>
              <p:spPr>
                <a:xfrm>
                  <a:off x="6723970" y="2531096"/>
                  <a:ext cx="3116554" cy="589686"/>
                </a:xfrm>
                <a:prstGeom prst="rect">
                  <a:avLst/>
                </a:prstGeom>
              </p:spPr>
              <p:txBody>
                <a:bodyPr wrap="square">
                  <a:spAutoFit/>
                  <a:scene3d>
                    <a:camera prst="orthographicFront"/>
                    <a:lightRig rig="threePt" dir="t"/>
                  </a:scene3d>
                  <a:sp3d contourW="127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just">
                    <a:lnSpc>
                      <a:spcPct val="120000"/>
                    </a:lnSpc>
                  </a:pPr>
                  <a:r>
                    <a:rPr lang="en-US" altLang="zh-CN" b="1" dirty="0">
                      <a:solidFill>
                        <a:srgbClr val="9D6BAB"/>
                      </a:solidFill>
                      <a:cs typeface="+mn-ea"/>
                      <a:sym typeface="+mn-lt"/>
                    </a:rPr>
                    <a:t>Add title text</a:t>
                  </a:r>
                  <a:endParaRPr lang="zh-CN" altLang="en-US" b="1" dirty="0">
                    <a:solidFill>
                      <a:srgbClr val="9D6BAB"/>
                    </a:solidFill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164" name="椭圆 163"/>
              <p:cNvSpPr/>
              <p:nvPr/>
            </p:nvSpPr>
            <p:spPr>
              <a:xfrm>
                <a:off x="1039083" y="1941056"/>
                <a:ext cx="770775" cy="770775"/>
              </a:xfrm>
              <a:prstGeom prst="ellipse">
                <a:avLst/>
              </a:prstGeom>
              <a:solidFill>
                <a:srgbClr val="C8AC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165" name="椭圆 146"/>
              <p:cNvSpPr/>
              <p:nvPr/>
            </p:nvSpPr>
            <p:spPr>
              <a:xfrm>
                <a:off x="1194312" y="2098487"/>
                <a:ext cx="460318" cy="455913"/>
              </a:xfrm>
              <a:custGeom>
                <a:avLst/>
                <a:gdLst>
                  <a:gd name="connsiteX0" fmla="*/ 57150 w 331788"/>
                  <a:gd name="connsiteY0" fmla="*/ 244475 h 328613"/>
                  <a:gd name="connsiteX1" fmla="*/ 190500 w 331788"/>
                  <a:gd name="connsiteY1" fmla="*/ 244475 h 328613"/>
                  <a:gd name="connsiteX2" fmla="*/ 179388 w 331788"/>
                  <a:gd name="connsiteY2" fmla="*/ 266700 h 328613"/>
                  <a:gd name="connsiteX3" fmla="*/ 44450 w 331788"/>
                  <a:gd name="connsiteY3" fmla="*/ 266700 h 328613"/>
                  <a:gd name="connsiteX4" fmla="*/ 238052 w 331788"/>
                  <a:gd name="connsiteY4" fmla="*/ 236537 h 328613"/>
                  <a:gd name="connsiteX5" fmla="*/ 267850 w 331788"/>
                  <a:gd name="connsiteY5" fmla="*/ 306387 h 328613"/>
                  <a:gd name="connsiteX6" fmla="*/ 308012 w 331788"/>
                  <a:gd name="connsiteY6" fmla="*/ 236537 h 328613"/>
                  <a:gd name="connsiteX7" fmla="*/ 238052 w 331788"/>
                  <a:gd name="connsiteY7" fmla="*/ 236537 h 328613"/>
                  <a:gd name="connsiteX8" fmla="*/ 79375 w 331788"/>
                  <a:gd name="connsiteY8" fmla="*/ 198437 h 328613"/>
                  <a:gd name="connsiteX9" fmla="*/ 211138 w 331788"/>
                  <a:gd name="connsiteY9" fmla="*/ 198437 h 328613"/>
                  <a:gd name="connsiteX10" fmla="*/ 200026 w 331788"/>
                  <a:gd name="connsiteY10" fmla="*/ 220662 h 328613"/>
                  <a:gd name="connsiteX11" fmla="*/ 66675 w 331788"/>
                  <a:gd name="connsiteY11" fmla="*/ 220662 h 328613"/>
                  <a:gd name="connsiteX12" fmla="*/ 98425 w 331788"/>
                  <a:gd name="connsiteY12" fmla="*/ 152400 h 328613"/>
                  <a:gd name="connsiteX13" fmla="*/ 230187 w 331788"/>
                  <a:gd name="connsiteY13" fmla="*/ 152400 h 328613"/>
                  <a:gd name="connsiteX14" fmla="*/ 220662 w 331788"/>
                  <a:gd name="connsiteY14" fmla="*/ 174625 h 328613"/>
                  <a:gd name="connsiteX15" fmla="*/ 87312 w 331788"/>
                  <a:gd name="connsiteY15" fmla="*/ 174625 h 328613"/>
                  <a:gd name="connsiteX16" fmla="*/ 267855 w 331788"/>
                  <a:gd name="connsiteY16" fmla="*/ 20637 h 328613"/>
                  <a:gd name="connsiteX17" fmla="*/ 230188 w 331788"/>
                  <a:gd name="connsiteY17" fmla="*/ 108828 h 328613"/>
                  <a:gd name="connsiteX18" fmla="*/ 234084 w 331788"/>
                  <a:gd name="connsiteY18" fmla="*/ 116610 h 328613"/>
                  <a:gd name="connsiteX19" fmla="*/ 224992 w 331788"/>
                  <a:gd name="connsiteY19" fmla="*/ 125688 h 328613"/>
                  <a:gd name="connsiteX20" fmla="*/ 78221 w 331788"/>
                  <a:gd name="connsiteY20" fmla="*/ 125688 h 328613"/>
                  <a:gd name="connsiteX21" fmla="*/ 28864 w 331788"/>
                  <a:gd name="connsiteY21" fmla="*/ 224255 h 328613"/>
                  <a:gd name="connsiteX22" fmla="*/ 15875 w 331788"/>
                  <a:gd name="connsiteY22" fmla="*/ 263164 h 328613"/>
                  <a:gd name="connsiteX23" fmla="*/ 60036 w 331788"/>
                  <a:gd name="connsiteY23" fmla="*/ 311150 h 328613"/>
                  <a:gd name="connsiteX24" fmla="*/ 232786 w 331788"/>
                  <a:gd name="connsiteY24" fmla="*/ 311150 h 328613"/>
                  <a:gd name="connsiteX25" fmla="*/ 205509 w 331788"/>
                  <a:gd name="connsiteY25" fmla="*/ 263164 h 328613"/>
                  <a:gd name="connsiteX26" fmla="*/ 232786 w 331788"/>
                  <a:gd name="connsiteY26" fmla="*/ 213880 h 328613"/>
                  <a:gd name="connsiteX27" fmla="*/ 314614 w 331788"/>
                  <a:gd name="connsiteY27" fmla="*/ 69920 h 328613"/>
                  <a:gd name="connsiteX28" fmla="*/ 267855 w 331788"/>
                  <a:gd name="connsiteY28" fmla="*/ 20637 h 328613"/>
                  <a:gd name="connsiteX29" fmla="*/ 64098 w 331788"/>
                  <a:gd name="connsiteY29" fmla="*/ 17462 h 328613"/>
                  <a:gd name="connsiteX30" fmla="*/ 17178 w 331788"/>
                  <a:gd name="connsiteY30" fmla="*/ 65291 h 328613"/>
                  <a:gd name="connsiteX31" fmla="*/ 31515 w 331788"/>
                  <a:gd name="connsiteY31" fmla="*/ 107950 h 328613"/>
                  <a:gd name="connsiteX32" fmla="*/ 211373 w 331788"/>
                  <a:gd name="connsiteY32" fmla="*/ 107950 h 328613"/>
                  <a:gd name="connsiteX33" fmla="*/ 202250 w 331788"/>
                  <a:gd name="connsiteY33" fmla="*/ 65291 h 328613"/>
                  <a:gd name="connsiteX34" fmla="*/ 227013 w 331788"/>
                  <a:gd name="connsiteY34" fmla="*/ 17462 h 328613"/>
                  <a:gd name="connsiteX35" fmla="*/ 64098 w 331788"/>
                  <a:gd name="connsiteY35" fmla="*/ 17462 h 328613"/>
                  <a:gd name="connsiteX36" fmla="*/ 66098 w 331788"/>
                  <a:gd name="connsiteY36" fmla="*/ 0 h 328613"/>
                  <a:gd name="connsiteX37" fmla="*/ 263098 w 331788"/>
                  <a:gd name="connsiteY37" fmla="*/ 0 h 328613"/>
                  <a:gd name="connsiteX38" fmla="*/ 331788 w 331788"/>
                  <a:gd name="connsiteY38" fmla="*/ 69862 h 328613"/>
                  <a:gd name="connsiteX39" fmla="*/ 255321 w 331788"/>
                  <a:gd name="connsiteY39" fmla="*/ 217350 h 328613"/>
                  <a:gd name="connsiteX40" fmla="*/ 304571 w 331788"/>
                  <a:gd name="connsiteY40" fmla="*/ 217350 h 328613"/>
                  <a:gd name="connsiteX41" fmla="*/ 322716 w 331788"/>
                  <a:gd name="connsiteY41" fmla="*/ 228994 h 328613"/>
                  <a:gd name="connsiteX42" fmla="*/ 331788 w 331788"/>
                  <a:gd name="connsiteY42" fmla="*/ 262632 h 328613"/>
                  <a:gd name="connsiteX43" fmla="*/ 256617 w 331788"/>
                  <a:gd name="connsiteY43" fmla="*/ 327319 h 328613"/>
                  <a:gd name="connsiteX44" fmla="*/ 57026 w 331788"/>
                  <a:gd name="connsiteY44" fmla="*/ 328613 h 328613"/>
                  <a:gd name="connsiteX45" fmla="*/ 0 w 331788"/>
                  <a:gd name="connsiteY45" fmla="*/ 262632 h 328613"/>
                  <a:gd name="connsiteX46" fmla="*/ 19441 w 331788"/>
                  <a:gd name="connsiteY46" fmla="*/ 209588 h 328613"/>
                  <a:gd name="connsiteX47" fmla="*/ 60914 w 331788"/>
                  <a:gd name="connsiteY47" fmla="*/ 125494 h 328613"/>
                  <a:gd name="connsiteX48" fmla="*/ 33697 w 331788"/>
                  <a:gd name="connsiteY48" fmla="*/ 125494 h 328613"/>
                  <a:gd name="connsiteX49" fmla="*/ 19441 w 331788"/>
                  <a:gd name="connsiteY49" fmla="*/ 119025 h 328613"/>
                  <a:gd name="connsiteX50" fmla="*/ 0 w 331788"/>
                  <a:gd name="connsiteY50" fmla="*/ 69862 h 328613"/>
                  <a:gd name="connsiteX51" fmla="*/ 66098 w 331788"/>
                  <a:gd name="connsiteY51" fmla="*/ 0 h 328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331788" h="328613">
                    <a:moveTo>
                      <a:pt x="57150" y="244475"/>
                    </a:moveTo>
                    <a:lnTo>
                      <a:pt x="190500" y="244475"/>
                    </a:lnTo>
                    <a:lnTo>
                      <a:pt x="179388" y="266700"/>
                    </a:lnTo>
                    <a:lnTo>
                      <a:pt x="44450" y="266700"/>
                    </a:lnTo>
                    <a:close/>
                    <a:moveTo>
                      <a:pt x="238052" y="236537"/>
                    </a:moveTo>
                    <a:cubicBezTo>
                      <a:pt x="209550" y="263701"/>
                      <a:pt x="238052" y="306387"/>
                      <a:pt x="267850" y="306387"/>
                    </a:cubicBezTo>
                    <a:cubicBezTo>
                      <a:pt x="314490" y="306387"/>
                      <a:pt x="322263" y="253353"/>
                      <a:pt x="308012" y="236537"/>
                    </a:cubicBezTo>
                    <a:cubicBezTo>
                      <a:pt x="308012" y="236537"/>
                      <a:pt x="308012" y="236537"/>
                      <a:pt x="238052" y="236537"/>
                    </a:cubicBezTo>
                    <a:close/>
                    <a:moveTo>
                      <a:pt x="79375" y="198437"/>
                    </a:moveTo>
                    <a:lnTo>
                      <a:pt x="211138" y="198437"/>
                    </a:lnTo>
                    <a:lnTo>
                      <a:pt x="200026" y="220662"/>
                    </a:lnTo>
                    <a:lnTo>
                      <a:pt x="66675" y="220662"/>
                    </a:lnTo>
                    <a:close/>
                    <a:moveTo>
                      <a:pt x="98425" y="152400"/>
                    </a:moveTo>
                    <a:lnTo>
                      <a:pt x="230187" y="152400"/>
                    </a:lnTo>
                    <a:lnTo>
                      <a:pt x="220662" y="174625"/>
                    </a:lnTo>
                    <a:lnTo>
                      <a:pt x="87312" y="174625"/>
                    </a:lnTo>
                    <a:close/>
                    <a:moveTo>
                      <a:pt x="267855" y="20637"/>
                    </a:moveTo>
                    <a:cubicBezTo>
                      <a:pt x="208107" y="20637"/>
                      <a:pt x="215900" y="84187"/>
                      <a:pt x="230188" y="108828"/>
                    </a:cubicBezTo>
                    <a:cubicBezTo>
                      <a:pt x="231487" y="111422"/>
                      <a:pt x="232786" y="114016"/>
                      <a:pt x="234084" y="116610"/>
                    </a:cubicBezTo>
                    <a:cubicBezTo>
                      <a:pt x="235383" y="117907"/>
                      <a:pt x="236682" y="125688"/>
                      <a:pt x="224992" y="125688"/>
                    </a:cubicBezTo>
                    <a:cubicBezTo>
                      <a:pt x="224992" y="125688"/>
                      <a:pt x="224992" y="125688"/>
                      <a:pt x="78221" y="125688"/>
                    </a:cubicBezTo>
                    <a:cubicBezTo>
                      <a:pt x="74324" y="165893"/>
                      <a:pt x="44450" y="202207"/>
                      <a:pt x="28864" y="224255"/>
                    </a:cubicBezTo>
                    <a:cubicBezTo>
                      <a:pt x="21070" y="237225"/>
                      <a:pt x="15875" y="248897"/>
                      <a:pt x="15875" y="263164"/>
                    </a:cubicBezTo>
                    <a:cubicBezTo>
                      <a:pt x="15875" y="287805"/>
                      <a:pt x="35358" y="309853"/>
                      <a:pt x="60036" y="311150"/>
                    </a:cubicBezTo>
                    <a:lnTo>
                      <a:pt x="232786" y="311150"/>
                    </a:lnTo>
                    <a:cubicBezTo>
                      <a:pt x="217199" y="300775"/>
                      <a:pt x="205509" y="282618"/>
                      <a:pt x="205509" y="263164"/>
                    </a:cubicBezTo>
                    <a:cubicBezTo>
                      <a:pt x="205509" y="242412"/>
                      <a:pt x="217199" y="226849"/>
                      <a:pt x="232786" y="213880"/>
                    </a:cubicBezTo>
                    <a:cubicBezTo>
                      <a:pt x="232786" y="213880"/>
                      <a:pt x="312016" y="143846"/>
                      <a:pt x="314614" y="69920"/>
                    </a:cubicBezTo>
                    <a:cubicBezTo>
                      <a:pt x="315913" y="42685"/>
                      <a:pt x="295131" y="20637"/>
                      <a:pt x="267855" y="20637"/>
                    </a:cubicBezTo>
                    <a:close/>
                    <a:moveTo>
                      <a:pt x="64098" y="17462"/>
                    </a:moveTo>
                    <a:cubicBezTo>
                      <a:pt x="39335" y="17462"/>
                      <a:pt x="17178" y="39438"/>
                      <a:pt x="17178" y="65291"/>
                    </a:cubicBezTo>
                    <a:cubicBezTo>
                      <a:pt x="15875" y="93730"/>
                      <a:pt x="31515" y="107950"/>
                      <a:pt x="31515" y="107950"/>
                    </a:cubicBezTo>
                    <a:lnTo>
                      <a:pt x="211373" y="107950"/>
                    </a:lnTo>
                    <a:cubicBezTo>
                      <a:pt x="204857" y="95023"/>
                      <a:pt x="202250" y="78218"/>
                      <a:pt x="202250" y="65291"/>
                    </a:cubicBezTo>
                    <a:cubicBezTo>
                      <a:pt x="202250" y="45901"/>
                      <a:pt x="212677" y="27803"/>
                      <a:pt x="227013" y="17462"/>
                    </a:cubicBezTo>
                    <a:cubicBezTo>
                      <a:pt x="227013" y="17462"/>
                      <a:pt x="227013" y="17462"/>
                      <a:pt x="64098" y="17462"/>
                    </a:cubicBezTo>
                    <a:close/>
                    <a:moveTo>
                      <a:pt x="66098" y="0"/>
                    </a:moveTo>
                    <a:cubicBezTo>
                      <a:pt x="66098" y="0"/>
                      <a:pt x="66098" y="0"/>
                      <a:pt x="263098" y="0"/>
                    </a:cubicBezTo>
                    <a:cubicBezTo>
                      <a:pt x="300683" y="0"/>
                      <a:pt x="331788" y="31050"/>
                      <a:pt x="331788" y="69862"/>
                    </a:cubicBezTo>
                    <a:cubicBezTo>
                      <a:pt x="331788" y="137138"/>
                      <a:pt x="278650" y="194063"/>
                      <a:pt x="255321" y="217350"/>
                    </a:cubicBezTo>
                    <a:cubicBezTo>
                      <a:pt x="255321" y="217350"/>
                      <a:pt x="255321" y="217350"/>
                      <a:pt x="304571" y="217350"/>
                    </a:cubicBezTo>
                    <a:cubicBezTo>
                      <a:pt x="312347" y="217350"/>
                      <a:pt x="318828" y="222525"/>
                      <a:pt x="322716" y="228994"/>
                    </a:cubicBezTo>
                    <a:cubicBezTo>
                      <a:pt x="329196" y="239344"/>
                      <a:pt x="331788" y="250988"/>
                      <a:pt x="331788" y="262632"/>
                    </a:cubicBezTo>
                    <a:cubicBezTo>
                      <a:pt x="331788" y="300151"/>
                      <a:pt x="295499" y="327319"/>
                      <a:pt x="256617" y="327319"/>
                    </a:cubicBezTo>
                    <a:cubicBezTo>
                      <a:pt x="250137" y="327319"/>
                      <a:pt x="58322" y="328613"/>
                      <a:pt x="57026" y="328613"/>
                    </a:cubicBezTo>
                    <a:cubicBezTo>
                      <a:pt x="22033" y="324732"/>
                      <a:pt x="0" y="297563"/>
                      <a:pt x="0" y="262632"/>
                    </a:cubicBezTo>
                    <a:cubicBezTo>
                      <a:pt x="0" y="232875"/>
                      <a:pt x="19441" y="209588"/>
                      <a:pt x="19441" y="209588"/>
                    </a:cubicBezTo>
                    <a:cubicBezTo>
                      <a:pt x="64802" y="147488"/>
                      <a:pt x="60914" y="125494"/>
                      <a:pt x="60914" y="125494"/>
                    </a:cubicBezTo>
                    <a:cubicBezTo>
                      <a:pt x="60914" y="125494"/>
                      <a:pt x="60914" y="125494"/>
                      <a:pt x="33697" y="125494"/>
                    </a:cubicBezTo>
                    <a:cubicBezTo>
                      <a:pt x="28513" y="125494"/>
                      <a:pt x="23329" y="122906"/>
                      <a:pt x="19441" y="119025"/>
                    </a:cubicBezTo>
                    <a:cubicBezTo>
                      <a:pt x="6480" y="106088"/>
                      <a:pt x="0" y="87975"/>
                      <a:pt x="0" y="69862"/>
                    </a:cubicBezTo>
                    <a:cubicBezTo>
                      <a:pt x="0" y="34931"/>
                      <a:pt x="28513" y="0"/>
                      <a:pt x="6609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68" name="组合 167"/>
            <p:cNvGrpSpPr/>
            <p:nvPr/>
          </p:nvGrpSpPr>
          <p:grpSpPr>
            <a:xfrm>
              <a:off x="10762" y="4679"/>
              <a:ext cx="7489" cy="2100"/>
              <a:chOff x="1039083" y="1825530"/>
              <a:chExt cx="4755312" cy="1333362"/>
            </a:xfrm>
          </p:grpSpPr>
          <p:grpSp>
            <p:nvGrpSpPr>
              <p:cNvPr id="169" name="组合 168"/>
              <p:cNvGrpSpPr/>
              <p:nvPr/>
            </p:nvGrpSpPr>
            <p:grpSpPr>
              <a:xfrm>
                <a:off x="1965087" y="1825530"/>
                <a:ext cx="3829308" cy="1333362"/>
                <a:chOff x="6723970" y="2815253"/>
                <a:chExt cx="3829308" cy="1333362"/>
              </a:xfrm>
            </p:grpSpPr>
            <p:sp>
              <p:nvSpPr>
                <p:cNvPr id="172" name="矩形 171"/>
                <p:cNvSpPr/>
                <p:nvPr/>
              </p:nvSpPr>
              <p:spPr>
                <a:xfrm>
                  <a:off x="6723970" y="3285743"/>
                  <a:ext cx="3829308" cy="862872"/>
                </a:xfrm>
                <a:prstGeom prst="rect">
                  <a:avLst/>
                </a:prstGeom>
              </p:spPr>
              <p:txBody>
                <a:bodyPr wrap="square">
                  <a:spAutoFit/>
                  <a:scene3d>
                    <a:camera prst="orthographicFront"/>
                    <a:lightRig rig="threePt" dir="t"/>
                  </a:scene3d>
                  <a:sp3d contourW="127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just">
                    <a:lnSpc>
                      <a:spcPct val="120000"/>
                    </a:lnSpc>
                  </a:pPr>
                  <a:r>
                    <a:rPr lang="en-US" altLang="zh-CN" sz="1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cs typeface="+mn-ea"/>
                      <a:sym typeface="+mn-lt"/>
                    </a:rPr>
                    <a:t>Click here to add content, content to match the title. </a:t>
                  </a:r>
                  <a:endParaRPr lang="zh-CN" altLang="en-US" sz="14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173" name="矩形 172"/>
                <p:cNvSpPr/>
                <p:nvPr/>
              </p:nvSpPr>
              <p:spPr>
                <a:xfrm>
                  <a:off x="6723970" y="2815253"/>
                  <a:ext cx="3440787" cy="589633"/>
                </a:xfrm>
                <a:prstGeom prst="rect">
                  <a:avLst/>
                </a:prstGeom>
              </p:spPr>
              <p:txBody>
                <a:bodyPr wrap="square">
                  <a:spAutoFit/>
                  <a:scene3d>
                    <a:camera prst="orthographicFront"/>
                    <a:lightRig rig="threePt" dir="t"/>
                  </a:scene3d>
                  <a:sp3d contourW="127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just">
                    <a:lnSpc>
                      <a:spcPct val="120000"/>
                    </a:lnSpc>
                  </a:pPr>
                  <a:r>
                    <a:rPr lang="en-US" altLang="zh-CN" b="1" dirty="0">
                      <a:solidFill>
                        <a:srgbClr val="9D6BAB"/>
                      </a:solidFill>
                      <a:cs typeface="+mn-ea"/>
                      <a:sym typeface="+mn-lt"/>
                    </a:rPr>
                    <a:t>Add title text</a:t>
                  </a:r>
                  <a:endParaRPr lang="zh-CN" altLang="en-US" b="1" dirty="0">
                    <a:solidFill>
                      <a:srgbClr val="9D6BAB"/>
                    </a:solidFill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170" name="椭圆 169"/>
              <p:cNvSpPr/>
              <p:nvPr/>
            </p:nvSpPr>
            <p:spPr>
              <a:xfrm>
                <a:off x="1039083" y="2161860"/>
                <a:ext cx="770775" cy="770775"/>
              </a:xfrm>
              <a:prstGeom prst="ellipse">
                <a:avLst/>
              </a:prstGeom>
              <a:solidFill>
                <a:srgbClr val="B1B5E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171" name="椭圆 152"/>
              <p:cNvSpPr/>
              <p:nvPr/>
            </p:nvSpPr>
            <p:spPr>
              <a:xfrm>
                <a:off x="1194312" y="2382546"/>
                <a:ext cx="460318" cy="329404"/>
              </a:xfrm>
              <a:custGeom>
                <a:avLst/>
                <a:gdLst>
                  <a:gd name="connsiteX0" fmla="*/ 71046 w 330544"/>
                  <a:gd name="connsiteY0" fmla="*/ 161925 h 236538"/>
                  <a:gd name="connsiteX1" fmla="*/ 289130 w 330544"/>
                  <a:gd name="connsiteY1" fmla="*/ 161925 h 236538"/>
                  <a:gd name="connsiteX2" fmla="*/ 295620 w 330544"/>
                  <a:gd name="connsiteY2" fmla="*/ 169644 h 236538"/>
                  <a:gd name="connsiteX3" fmla="*/ 289130 w 330544"/>
                  <a:gd name="connsiteY3" fmla="*/ 177362 h 236538"/>
                  <a:gd name="connsiteX4" fmla="*/ 282639 w 330544"/>
                  <a:gd name="connsiteY4" fmla="*/ 177362 h 236538"/>
                  <a:gd name="connsiteX5" fmla="*/ 282639 w 330544"/>
                  <a:gd name="connsiteY5" fmla="*/ 222387 h 236538"/>
                  <a:gd name="connsiteX6" fmla="*/ 289130 w 330544"/>
                  <a:gd name="connsiteY6" fmla="*/ 222387 h 236538"/>
                  <a:gd name="connsiteX7" fmla="*/ 295620 w 330544"/>
                  <a:gd name="connsiteY7" fmla="*/ 230106 h 236538"/>
                  <a:gd name="connsiteX8" fmla="*/ 289130 w 330544"/>
                  <a:gd name="connsiteY8" fmla="*/ 236538 h 236538"/>
                  <a:gd name="connsiteX9" fmla="*/ 71046 w 330544"/>
                  <a:gd name="connsiteY9" fmla="*/ 236538 h 236538"/>
                  <a:gd name="connsiteX10" fmla="*/ 46382 w 330544"/>
                  <a:gd name="connsiteY10" fmla="*/ 213382 h 236538"/>
                  <a:gd name="connsiteX11" fmla="*/ 46382 w 330544"/>
                  <a:gd name="connsiteY11" fmla="*/ 186367 h 236538"/>
                  <a:gd name="connsiteX12" fmla="*/ 71046 w 330544"/>
                  <a:gd name="connsiteY12" fmla="*/ 161925 h 236538"/>
                  <a:gd name="connsiteX13" fmla="*/ 94007 w 330544"/>
                  <a:gd name="connsiteY13" fmla="*/ 104775 h 236538"/>
                  <a:gd name="connsiteX14" fmla="*/ 94007 w 330544"/>
                  <a:gd name="connsiteY14" fmla="*/ 134938 h 236538"/>
                  <a:gd name="connsiteX15" fmla="*/ 304347 w 330544"/>
                  <a:gd name="connsiteY15" fmla="*/ 134938 h 236538"/>
                  <a:gd name="connsiteX16" fmla="*/ 314670 w 330544"/>
                  <a:gd name="connsiteY16" fmla="*/ 123135 h 236538"/>
                  <a:gd name="connsiteX17" fmla="*/ 314670 w 330544"/>
                  <a:gd name="connsiteY17" fmla="*/ 115267 h 236538"/>
                  <a:gd name="connsiteX18" fmla="*/ 304347 w 330544"/>
                  <a:gd name="connsiteY18" fmla="*/ 104775 h 236538"/>
                  <a:gd name="connsiteX19" fmla="*/ 94007 w 330544"/>
                  <a:gd name="connsiteY19" fmla="*/ 104775 h 236538"/>
                  <a:gd name="connsiteX20" fmla="*/ 74808 w 330544"/>
                  <a:gd name="connsiteY20" fmla="*/ 88900 h 236538"/>
                  <a:gd name="connsiteX21" fmla="*/ 304581 w 330544"/>
                  <a:gd name="connsiteY21" fmla="*/ 88900 h 236538"/>
                  <a:gd name="connsiteX22" fmla="*/ 330544 w 330544"/>
                  <a:gd name="connsiteY22" fmla="*/ 114570 h 236538"/>
                  <a:gd name="connsiteX23" fmla="*/ 330544 w 330544"/>
                  <a:gd name="connsiteY23" fmla="*/ 122271 h 236538"/>
                  <a:gd name="connsiteX24" fmla="*/ 304581 w 330544"/>
                  <a:gd name="connsiteY24" fmla="*/ 149225 h 236538"/>
                  <a:gd name="connsiteX25" fmla="*/ 74808 w 330544"/>
                  <a:gd name="connsiteY25" fmla="*/ 149225 h 236538"/>
                  <a:gd name="connsiteX26" fmla="*/ 67019 w 330544"/>
                  <a:gd name="connsiteY26" fmla="*/ 141524 h 236538"/>
                  <a:gd name="connsiteX27" fmla="*/ 74808 w 330544"/>
                  <a:gd name="connsiteY27" fmla="*/ 133823 h 236538"/>
                  <a:gd name="connsiteX28" fmla="*/ 77404 w 330544"/>
                  <a:gd name="connsiteY28" fmla="*/ 133823 h 236538"/>
                  <a:gd name="connsiteX29" fmla="*/ 77404 w 330544"/>
                  <a:gd name="connsiteY29" fmla="*/ 104302 h 236538"/>
                  <a:gd name="connsiteX30" fmla="*/ 74808 w 330544"/>
                  <a:gd name="connsiteY30" fmla="*/ 104302 h 236538"/>
                  <a:gd name="connsiteX31" fmla="*/ 67019 w 330544"/>
                  <a:gd name="connsiteY31" fmla="*/ 96601 h 236538"/>
                  <a:gd name="connsiteX32" fmla="*/ 74808 w 330544"/>
                  <a:gd name="connsiteY32" fmla="*/ 88900 h 236538"/>
                  <a:gd name="connsiteX33" fmla="*/ 25972 w 330544"/>
                  <a:gd name="connsiteY33" fmla="*/ 0 h 236538"/>
                  <a:gd name="connsiteX34" fmla="*/ 308482 w 330544"/>
                  <a:gd name="connsiteY34" fmla="*/ 0 h 236538"/>
                  <a:gd name="connsiteX35" fmla="*/ 316257 w 330544"/>
                  <a:gd name="connsiteY35" fmla="*/ 7758 h 236538"/>
                  <a:gd name="connsiteX36" fmla="*/ 308482 w 330544"/>
                  <a:gd name="connsiteY36" fmla="*/ 15517 h 236538"/>
                  <a:gd name="connsiteX37" fmla="*/ 252757 w 330544"/>
                  <a:gd name="connsiteY37" fmla="*/ 15517 h 236538"/>
                  <a:gd name="connsiteX38" fmla="*/ 252757 w 330544"/>
                  <a:gd name="connsiteY38" fmla="*/ 69825 h 236538"/>
                  <a:gd name="connsiteX39" fmla="*/ 244982 w 330544"/>
                  <a:gd name="connsiteY39" fmla="*/ 76290 h 236538"/>
                  <a:gd name="connsiteX40" fmla="*/ 89472 w 330544"/>
                  <a:gd name="connsiteY40" fmla="*/ 76290 h 236538"/>
                  <a:gd name="connsiteX41" fmla="*/ 81696 w 330544"/>
                  <a:gd name="connsiteY41" fmla="*/ 69825 h 236538"/>
                  <a:gd name="connsiteX42" fmla="*/ 81696 w 330544"/>
                  <a:gd name="connsiteY42" fmla="*/ 15517 h 236538"/>
                  <a:gd name="connsiteX43" fmla="*/ 33747 w 330544"/>
                  <a:gd name="connsiteY43" fmla="*/ 15517 h 236538"/>
                  <a:gd name="connsiteX44" fmla="*/ 33747 w 330544"/>
                  <a:gd name="connsiteY44" fmla="*/ 107323 h 236538"/>
                  <a:gd name="connsiteX45" fmla="*/ 51890 w 330544"/>
                  <a:gd name="connsiteY45" fmla="*/ 134477 h 236538"/>
                  <a:gd name="connsiteX46" fmla="*/ 50594 w 330544"/>
                  <a:gd name="connsiteY46" fmla="*/ 144822 h 236538"/>
                  <a:gd name="connsiteX47" fmla="*/ 40227 w 330544"/>
                  <a:gd name="connsiteY47" fmla="*/ 143529 h 236538"/>
                  <a:gd name="connsiteX48" fmla="*/ 33747 w 330544"/>
                  <a:gd name="connsiteY48" fmla="*/ 134477 h 236538"/>
                  <a:gd name="connsiteX49" fmla="*/ 33747 w 330544"/>
                  <a:gd name="connsiteY49" fmla="*/ 152580 h 236538"/>
                  <a:gd name="connsiteX50" fmla="*/ 25972 w 330544"/>
                  <a:gd name="connsiteY50" fmla="*/ 160338 h 236538"/>
                  <a:gd name="connsiteX51" fmla="*/ 18196 w 330544"/>
                  <a:gd name="connsiteY51" fmla="*/ 152580 h 236538"/>
                  <a:gd name="connsiteX52" fmla="*/ 18196 w 330544"/>
                  <a:gd name="connsiteY52" fmla="*/ 138356 h 236538"/>
                  <a:gd name="connsiteX53" fmla="*/ 14308 w 330544"/>
                  <a:gd name="connsiteY53" fmla="*/ 146115 h 236538"/>
                  <a:gd name="connsiteX54" fmla="*/ 7829 w 330544"/>
                  <a:gd name="connsiteY54" fmla="*/ 149994 h 236538"/>
                  <a:gd name="connsiteX55" fmla="*/ 3941 w 330544"/>
                  <a:gd name="connsiteY55" fmla="*/ 148701 h 236538"/>
                  <a:gd name="connsiteX56" fmla="*/ 1349 w 330544"/>
                  <a:gd name="connsiteY56" fmla="*/ 138356 h 236538"/>
                  <a:gd name="connsiteX57" fmla="*/ 18196 w 330544"/>
                  <a:gd name="connsiteY57" fmla="*/ 107323 h 236538"/>
                  <a:gd name="connsiteX58" fmla="*/ 18196 w 330544"/>
                  <a:gd name="connsiteY58" fmla="*/ 7758 h 236538"/>
                  <a:gd name="connsiteX59" fmla="*/ 25972 w 330544"/>
                  <a:gd name="connsiteY59" fmla="*/ 0 h 2365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</a:cxnLst>
                <a:rect l="l" t="t" r="r" b="b"/>
                <a:pathLst>
                  <a:path w="330544" h="236538">
                    <a:moveTo>
                      <a:pt x="71046" y="161925"/>
                    </a:moveTo>
                    <a:cubicBezTo>
                      <a:pt x="289130" y="161925"/>
                      <a:pt x="289130" y="161925"/>
                      <a:pt x="289130" y="161925"/>
                    </a:cubicBezTo>
                    <a:cubicBezTo>
                      <a:pt x="293024" y="161925"/>
                      <a:pt x="295620" y="165784"/>
                      <a:pt x="295620" y="169644"/>
                    </a:cubicBezTo>
                    <a:cubicBezTo>
                      <a:pt x="295620" y="173503"/>
                      <a:pt x="293024" y="177362"/>
                      <a:pt x="289130" y="177362"/>
                    </a:cubicBezTo>
                    <a:lnTo>
                      <a:pt x="282639" y="177362"/>
                    </a:lnTo>
                    <a:cubicBezTo>
                      <a:pt x="282639" y="222387"/>
                      <a:pt x="282639" y="222387"/>
                      <a:pt x="282639" y="222387"/>
                    </a:cubicBezTo>
                    <a:cubicBezTo>
                      <a:pt x="289130" y="222387"/>
                      <a:pt x="289130" y="222387"/>
                      <a:pt x="289130" y="222387"/>
                    </a:cubicBezTo>
                    <a:cubicBezTo>
                      <a:pt x="293024" y="222387"/>
                      <a:pt x="295620" y="224960"/>
                      <a:pt x="295620" y="230106"/>
                    </a:cubicBezTo>
                    <a:cubicBezTo>
                      <a:pt x="295620" y="233965"/>
                      <a:pt x="293024" y="236538"/>
                      <a:pt x="289130" y="236538"/>
                    </a:cubicBezTo>
                    <a:cubicBezTo>
                      <a:pt x="71046" y="236538"/>
                      <a:pt x="71046" y="236538"/>
                      <a:pt x="71046" y="236538"/>
                    </a:cubicBezTo>
                    <a:cubicBezTo>
                      <a:pt x="56767" y="236538"/>
                      <a:pt x="46382" y="226247"/>
                      <a:pt x="46382" y="213382"/>
                    </a:cubicBezTo>
                    <a:cubicBezTo>
                      <a:pt x="46382" y="186367"/>
                      <a:pt x="46382" y="186367"/>
                      <a:pt x="46382" y="186367"/>
                    </a:cubicBezTo>
                    <a:cubicBezTo>
                      <a:pt x="46382" y="172217"/>
                      <a:pt x="56767" y="161925"/>
                      <a:pt x="71046" y="161925"/>
                    </a:cubicBezTo>
                    <a:close/>
                    <a:moveTo>
                      <a:pt x="94007" y="104775"/>
                    </a:moveTo>
                    <a:cubicBezTo>
                      <a:pt x="94007" y="134938"/>
                      <a:pt x="94007" y="134938"/>
                      <a:pt x="94007" y="134938"/>
                    </a:cubicBezTo>
                    <a:cubicBezTo>
                      <a:pt x="304347" y="134938"/>
                      <a:pt x="304347" y="134938"/>
                      <a:pt x="304347" y="134938"/>
                    </a:cubicBezTo>
                    <a:cubicBezTo>
                      <a:pt x="310799" y="134938"/>
                      <a:pt x="314670" y="129692"/>
                      <a:pt x="314670" y="123135"/>
                    </a:cubicBezTo>
                    <a:lnTo>
                      <a:pt x="314670" y="115267"/>
                    </a:lnTo>
                    <a:cubicBezTo>
                      <a:pt x="314670" y="108709"/>
                      <a:pt x="310799" y="104775"/>
                      <a:pt x="304347" y="104775"/>
                    </a:cubicBezTo>
                    <a:cubicBezTo>
                      <a:pt x="94007" y="104775"/>
                      <a:pt x="94007" y="104775"/>
                      <a:pt x="94007" y="104775"/>
                    </a:cubicBezTo>
                    <a:close/>
                    <a:moveTo>
                      <a:pt x="74808" y="88900"/>
                    </a:moveTo>
                    <a:cubicBezTo>
                      <a:pt x="304581" y="88900"/>
                      <a:pt x="304581" y="88900"/>
                      <a:pt x="304581" y="88900"/>
                    </a:cubicBezTo>
                    <a:cubicBezTo>
                      <a:pt x="318861" y="88900"/>
                      <a:pt x="330544" y="100452"/>
                      <a:pt x="330544" y="114570"/>
                    </a:cubicBezTo>
                    <a:cubicBezTo>
                      <a:pt x="330544" y="122271"/>
                      <a:pt x="330544" y="122271"/>
                      <a:pt x="330544" y="122271"/>
                    </a:cubicBezTo>
                    <a:cubicBezTo>
                      <a:pt x="330544" y="137674"/>
                      <a:pt x="318861" y="149225"/>
                      <a:pt x="304581" y="149225"/>
                    </a:cubicBezTo>
                    <a:cubicBezTo>
                      <a:pt x="74808" y="149225"/>
                      <a:pt x="74808" y="149225"/>
                      <a:pt x="74808" y="149225"/>
                    </a:cubicBezTo>
                    <a:cubicBezTo>
                      <a:pt x="70914" y="149225"/>
                      <a:pt x="67019" y="145375"/>
                      <a:pt x="67019" y="141524"/>
                    </a:cubicBezTo>
                    <a:cubicBezTo>
                      <a:pt x="67019" y="136390"/>
                      <a:pt x="70914" y="133823"/>
                      <a:pt x="74808" y="133823"/>
                    </a:cubicBezTo>
                    <a:cubicBezTo>
                      <a:pt x="77404" y="133823"/>
                      <a:pt x="77404" y="133823"/>
                      <a:pt x="77404" y="133823"/>
                    </a:cubicBezTo>
                    <a:cubicBezTo>
                      <a:pt x="77404" y="104302"/>
                      <a:pt x="77404" y="104302"/>
                      <a:pt x="77404" y="104302"/>
                    </a:cubicBezTo>
                    <a:cubicBezTo>
                      <a:pt x="74808" y="104302"/>
                      <a:pt x="74808" y="104302"/>
                      <a:pt x="74808" y="104302"/>
                    </a:cubicBezTo>
                    <a:cubicBezTo>
                      <a:pt x="70914" y="104302"/>
                      <a:pt x="67019" y="100452"/>
                      <a:pt x="67019" y="96601"/>
                    </a:cubicBezTo>
                    <a:cubicBezTo>
                      <a:pt x="67019" y="92751"/>
                      <a:pt x="70914" y="88900"/>
                      <a:pt x="74808" y="88900"/>
                    </a:cubicBezTo>
                    <a:close/>
                    <a:moveTo>
                      <a:pt x="25972" y="0"/>
                    </a:moveTo>
                    <a:cubicBezTo>
                      <a:pt x="25972" y="0"/>
                      <a:pt x="25972" y="0"/>
                      <a:pt x="308482" y="0"/>
                    </a:cubicBezTo>
                    <a:cubicBezTo>
                      <a:pt x="312369" y="0"/>
                      <a:pt x="316257" y="3879"/>
                      <a:pt x="316257" y="7758"/>
                    </a:cubicBezTo>
                    <a:cubicBezTo>
                      <a:pt x="316257" y="11638"/>
                      <a:pt x="312369" y="15517"/>
                      <a:pt x="308482" y="15517"/>
                    </a:cubicBezTo>
                    <a:cubicBezTo>
                      <a:pt x="308482" y="15517"/>
                      <a:pt x="308482" y="15517"/>
                      <a:pt x="252757" y="15517"/>
                    </a:cubicBezTo>
                    <a:cubicBezTo>
                      <a:pt x="252757" y="15517"/>
                      <a:pt x="252757" y="15517"/>
                      <a:pt x="252757" y="69825"/>
                    </a:cubicBezTo>
                    <a:cubicBezTo>
                      <a:pt x="252757" y="73704"/>
                      <a:pt x="248869" y="76290"/>
                      <a:pt x="244982" y="76290"/>
                    </a:cubicBezTo>
                    <a:cubicBezTo>
                      <a:pt x="244982" y="76290"/>
                      <a:pt x="244982" y="76290"/>
                      <a:pt x="89472" y="76290"/>
                    </a:cubicBezTo>
                    <a:cubicBezTo>
                      <a:pt x="84288" y="76290"/>
                      <a:pt x="81696" y="73704"/>
                      <a:pt x="81696" y="69825"/>
                    </a:cubicBezTo>
                    <a:cubicBezTo>
                      <a:pt x="81696" y="69825"/>
                      <a:pt x="81696" y="69825"/>
                      <a:pt x="81696" y="15517"/>
                    </a:cubicBezTo>
                    <a:cubicBezTo>
                      <a:pt x="81696" y="15517"/>
                      <a:pt x="81696" y="15517"/>
                      <a:pt x="33747" y="15517"/>
                    </a:cubicBezTo>
                    <a:cubicBezTo>
                      <a:pt x="33747" y="15517"/>
                      <a:pt x="33747" y="15517"/>
                      <a:pt x="33747" y="107323"/>
                    </a:cubicBezTo>
                    <a:cubicBezTo>
                      <a:pt x="33747" y="107323"/>
                      <a:pt x="33747" y="107323"/>
                      <a:pt x="51890" y="134477"/>
                    </a:cubicBezTo>
                    <a:cubicBezTo>
                      <a:pt x="54482" y="138356"/>
                      <a:pt x="54482" y="142235"/>
                      <a:pt x="50594" y="144822"/>
                    </a:cubicBezTo>
                    <a:cubicBezTo>
                      <a:pt x="46706" y="147408"/>
                      <a:pt x="42818" y="146115"/>
                      <a:pt x="40227" y="143529"/>
                    </a:cubicBezTo>
                    <a:cubicBezTo>
                      <a:pt x="40227" y="143529"/>
                      <a:pt x="40227" y="143529"/>
                      <a:pt x="33747" y="134477"/>
                    </a:cubicBezTo>
                    <a:cubicBezTo>
                      <a:pt x="33747" y="134477"/>
                      <a:pt x="33747" y="134477"/>
                      <a:pt x="33747" y="152580"/>
                    </a:cubicBezTo>
                    <a:cubicBezTo>
                      <a:pt x="33747" y="157752"/>
                      <a:pt x="29859" y="160338"/>
                      <a:pt x="25972" y="160338"/>
                    </a:cubicBezTo>
                    <a:cubicBezTo>
                      <a:pt x="22084" y="160338"/>
                      <a:pt x="18196" y="157752"/>
                      <a:pt x="18196" y="152580"/>
                    </a:cubicBezTo>
                    <a:cubicBezTo>
                      <a:pt x="18196" y="152580"/>
                      <a:pt x="18196" y="152580"/>
                      <a:pt x="18196" y="138356"/>
                    </a:cubicBezTo>
                    <a:cubicBezTo>
                      <a:pt x="18196" y="138356"/>
                      <a:pt x="18196" y="138356"/>
                      <a:pt x="14308" y="146115"/>
                    </a:cubicBezTo>
                    <a:cubicBezTo>
                      <a:pt x="13012" y="147408"/>
                      <a:pt x="10421" y="149994"/>
                      <a:pt x="7829" y="149994"/>
                    </a:cubicBezTo>
                    <a:cubicBezTo>
                      <a:pt x="6533" y="149994"/>
                      <a:pt x="5237" y="148701"/>
                      <a:pt x="3941" y="148701"/>
                    </a:cubicBezTo>
                    <a:cubicBezTo>
                      <a:pt x="53" y="146115"/>
                      <a:pt x="-1243" y="142235"/>
                      <a:pt x="1349" y="138356"/>
                    </a:cubicBezTo>
                    <a:cubicBezTo>
                      <a:pt x="1349" y="138356"/>
                      <a:pt x="1349" y="138356"/>
                      <a:pt x="18196" y="107323"/>
                    </a:cubicBezTo>
                    <a:cubicBezTo>
                      <a:pt x="18196" y="107323"/>
                      <a:pt x="18196" y="107323"/>
                      <a:pt x="18196" y="7758"/>
                    </a:cubicBezTo>
                    <a:cubicBezTo>
                      <a:pt x="18196" y="3879"/>
                      <a:pt x="22084" y="0"/>
                      <a:pt x="2597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74" name="组合 173"/>
            <p:cNvGrpSpPr/>
            <p:nvPr/>
          </p:nvGrpSpPr>
          <p:grpSpPr>
            <a:xfrm>
              <a:off x="10762" y="6823"/>
              <a:ext cx="7964" cy="2006"/>
              <a:chOff x="1039083" y="2074284"/>
              <a:chExt cx="5056917" cy="1273223"/>
            </a:xfrm>
          </p:grpSpPr>
          <p:grpSp>
            <p:nvGrpSpPr>
              <p:cNvPr id="175" name="组合 174"/>
              <p:cNvGrpSpPr/>
              <p:nvPr/>
            </p:nvGrpSpPr>
            <p:grpSpPr>
              <a:xfrm>
                <a:off x="1965087" y="2074284"/>
                <a:ext cx="4130913" cy="1273223"/>
                <a:chOff x="6723970" y="3064007"/>
                <a:chExt cx="4130913" cy="1273223"/>
              </a:xfrm>
            </p:grpSpPr>
            <p:sp>
              <p:nvSpPr>
                <p:cNvPr id="178" name="矩形 177"/>
                <p:cNvSpPr/>
                <p:nvPr/>
              </p:nvSpPr>
              <p:spPr>
                <a:xfrm>
                  <a:off x="6723970" y="3474643"/>
                  <a:ext cx="4130913" cy="862587"/>
                </a:xfrm>
                <a:prstGeom prst="rect">
                  <a:avLst/>
                </a:prstGeom>
              </p:spPr>
              <p:txBody>
                <a:bodyPr wrap="square">
                  <a:spAutoFit/>
                  <a:scene3d>
                    <a:camera prst="orthographicFront"/>
                    <a:lightRig rig="threePt" dir="t"/>
                  </a:scene3d>
                  <a:sp3d contourW="127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just">
                    <a:lnSpc>
                      <a:spcPct val="120000"/>
                    </a:lnSpc>
                  </a:pPr>
                  <a:r>
                    <a:rPr lang="en-US" altLang="zh-CN" sz="1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cs typeface="+mn-ea"/>
                      <a:sym typeface="+mn-lt"/>
                    </a:rPr>
                    <a:t>Click here to add content, content to match the title. </a:t>
                  </a:r>
                  <a:r>
                    <a:rPr lang="zh-CN" altLang="en-US" sz="14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cs typeface="+mn-ea"/>
                      <a:sym typeface="+mn-lt"/>
                    </a:rPr>
                    <a:t>以</a:t>
                  </a:r>
                </a:p>
              </p:txBody>
            </p:sp>
            <p:sp>
              <p:nvSpPr>
                <p:cNvPr id="179" name="矩形 178"/>
                <p:cNvSpPr/>
                <p:nvPr/>
              </p:nvSpPr>
              <p:spPr>
                <a:xfrm>
                  <a:off x="6723970" y="3064007"/>
                  <a:ext cx="3215315" cy="589422"/>
                </a:xfrm>
                <a:prstGeom prst="rect">
                  <a:avLst/>
                </a:prstGeom>
              </p:spPr>
              <p:txBody>
                <a:bodyPr wrap="square">
                  <a:spAutoFit/>
                  <a:scene3d>
                    <a:camera prst="orthographicFront"/>
                    <a:lightRig rig="threePt" dir="t"/>
                  </a:scene3d>
                  <a:sp3d contourW="127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algn="just">
                    <a:lnSpc>
                      <a:spcPct val="120000"/>
                    </a:lnSpc>
                  </a:pPr>
                  <a:r>
                    <a:rPr lang="en-US" altLang="zh-CN" b="1" dirty="0">
                      <a:solidFill>
                        <a:srgbClr val="9D6BAB"/>
                      </a:solidFill>
                      <a:cs typeface="+mn-ea"/>
                      <a:sym typeface="+mn-lt"/>
                    </a:rPr>
                    <a:t>Add title text</a:t>
                  </a:r>
                  <a:endParaRPr lang="zh-CN" altLang="en-US" b="1" dirty="0">
                    <a:solidFill>
                      <a:srgbClr val="9D6BAB"/>
                    </a:solidFill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176" name="椭圆 175"/>
              <p:cNvSpPr/>
              <p:nvPr/>
            </p:nvSpPr>
            <p:spPr>
              <a:xfrm>
                <a:off x="1039083" y="2185151"/>
                <a:ext cx="770775" cy="770775"/>
              </a:xfrm>
              <a:prstGeom prst="ellipse">
                <a:avLst/>
              </a:prstGeom>
              <a:solidFill>
                <a:srgbClr val="ACC0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177" name="椭圆 158"/>
              <p:cNvSpPr/>
              <p:nvPr/>
            </p:nvSpPr>
            <p:spPr>
              <a:xfrm>
                <a:off x="1194312" y="2342582"/>
                <a:ext cx="460318" cy="455913"/>
              </a:xfrm>
              <a:custGeom>
                <a:avLst/>
                <a:gdLst>
                  <a:gd name="connsiteX0" fmla="*/ 242094 w 331788"/>
                  <a:gd name="connsiteY0" fmla="*/ 203585 h 328613"/>
                  <a:gd name="connsiteX1" fmla="*/ 214264 w 331788"/>
                  <a:gd name="connsiteY1" fmla="*/ 214264 h 328613"/>
                  <a:gd name="connsiteX2" fmla="*/ 214264 w 331788"/>
                  <a:gd name="connsiteY2" fmla="*/ 269924 h 328613"/>
                  <a:gd name="connsiteX3" fmla="*/ 269924 w 331788"/>
                  <a:gd name="connsiteY3" fmla="*/ 269924 h 328613"/>
                  <a:gd name="connsiteX4" fmla="*/ 269924 w 331788"/>
                  <a:gd name="connsiteY4" fmla="*/ 214264 h 328613"/>
                  <a:gd name="connsiteX5" fmla="*/ 242094 w 331788"/>
                  <a:gd name="connsiteY5" fmla="*/ 203585 h 328613"/>
                  <a:gd name="connsiteX6" fmla="*/ 85725 w 331788"/>
                  <a:gd name="connsiteY6" fmla="*/ 200752 h 328613"/>
                  <a:gd name="connsiteX7" fmla="*/ 136525 w 331788"/>
                  <a:gd name="connsiteY7" fmla="*/ 207698 h 328613"/>
                  <a:gd name="connsiteX8" fmla="*/ 132667 w 331788"/>
                  <a:gd name="connsiteY8" fmla="*/ 222250 h 328613"/>
                  <a:gd name="connsiteX9" fmla="*/ 38783 w 331788"/>
                  <a:gd name="connsiteY9" fmla="*/ 222250 h 328613"/>
                  <a:gd name="connsiteX10" fmla="*/ 34925 w 331788"/>
                  <a:gd name="connsiteY10" fmla="*/ 207698 h 328613"/>
                  <a:gd name="connsiteX11" fmla="*/ 85725 w 331788"/>
                  <a:gd name="connsiteY11" fmla="*/ 200752 h 328613"/>
                  <a:gd name="connsiteX12" fmla="*/ 86038 w 331788"/>
                  <a:gd name="connsiteY12" fmla="*/ 150283 h 328613"/>
                  <a:gd name="connsiteX13" fmla="*/ 136525 w 331788"/>
                  <a:gd name="connsiteY13" fmla="*/ 158221 h 328613"/>
                  <a:gd name="connsiteX14" fmla="*/ 132678 w 331788"/>
                  <a:gd name="connsiteY14" fmla="*/ 171450 h 328613"/>
                  <a:gd name="connsiteX15" fmla="*/ 39076 w 331788"/>
                  <a:gd name="connsiteY15" fmla="*/ 171450 h 328613"/>
                  <a:gd name="connsiteX16" fmla="*/ 36512 w 331788"/>
                  <a:gd name="connsiteY16" fmla="*/ 158221 h 328613"/>
                  <a:gd name="connsiteX17" fmla="*/ 86038 w 331788"/>
                  <a:gd name="connsiteY17" fmla="*/ 150283 h 328613"/>
                  <a:gd name="connsiteX18" fmla="*/ 243681 w 331788"/>
                  <a:gd name="connsiteY18" fmla="*/ 148724 h 328613"/>
                  <a:gd name="connsiteX19" fmla="*/ 295275 w 331788"/>
                  <a:gd name="connsiteY19" fmla="*/ 156745 h 328613"/>
                  <a:gd name="connsiteX20" fmla="*/ 292663 w 331788"/>
                  <a:gd name="connsiteY20" fmla="*/ 171450 h 328613"/>
                  <a:gd name="connsiteX21" fmla="*/ 197312 w 331788"/>
                  <a:gd name="connsiteY21" fmla="*/ 171450 h 328613"/>
                  <a:gd name="connsiteX22" fmla="*/ 192087 w 331788"/>
                  <a:gd name="connsiteY22" fmla="*/ 156745 h 328613"/>
                  <a:gd name="connsiteX23" fmla="*/ 243681 w 331788"/>
                  <a:gd name="connsiteY23" fmla="*/ 148724 h 328613"/>
                  <a:gd name="connsiteX24" fmla="*/ 86038 w 331788"/>
                  <a:gd name="connsiteY24" fmla="*/ 99483 h 328613"/>
                  <a:gd name="connsiteX25" fmla="*/ 136525 w 331788"/>
                  <a:gd name="connsiteY25" fmla="*/ 107421 h 328613"/>
                  <a:gd name="connsiteX26" fmla="*/ 132678 w 331788"/>
                  <a:gd name="connsiteY26" fmla="*/ 120650 h 328613"/>
                  <a:gd name="connsiteX27" fmla="*/ 39076 w 331788"/>
                  <a:gd name="connsiteY27" fmla="*/ 120650 h 328613"/>
                  <a:gd name="connsiteX28" fmla="*/ 36512 w 331788"/>
                  <a:gd name="connsiteY28" fmla="*/ 107421 h 328613"/>
                  <a:gd name="connsiteX29" fmla="*/ 86038 w 331788"/>
                  <a:gd name="connsiteY29" fmla="*/ 99483 h 328613"/>
                  <a:gd name="connsiteX30" fmla="*/ 243681 w 331788"/>
                  <a:gd name="connsiteY30" fmla="*/ 99152 h 328613"/>
                  <a:gd name="connsiteX31" fmla="*/ 295275 w 331788"/>
                  <a:gd name="connsiteY31" fmla="*/ 106098 h 328613"/>
                  <a:gd name="connsiteX32" fmla="*/ 292663 w 331788"/>
                  <a:gd name="connsiteY32" fmla="*/ 120650 h 328613"/>
                  <a:gd name="connsiteX33" fmla="*/ 196006 w 331788"/>
                  <a:gd name="connsiteY33" fmla="*/ 120650 h 328613"/>
                  <a:gd name="connsiteX34" fmla="*/ 192087 w 331788"/>
                  <a:gd name="connsiteY34" fmla="*/ 106098 h 328613"/>
                  <a:gd name="connsiteX35" fmla="*/ 243681 w 331788"/>
                  <a:gd name="connsiteY35" fmla="*/ 99152 h 328613"/>
                  <a:gd name="connsiteX36" fmla="*/ 243681 w 331788"/>
                  <a:gd name="connsiteY36" fmla="*/ 48711 h 328613"/>
                  <a:gd name="connsiteX37" fmla="*/ 295275 w 331788"/>
                  <a:gd name="connsiteY37" fmla="*/ 56732 h 328613"/>
                  <a:gd name="connsiteX38" fmla="*/ 292663 w 331788"/>
                  <a:gd name="connsiteY38" fmla="*/ 71437 h 328613"/>
                  <a:gd name="connsiteX39" fmla="*/ 197312 w 331788"/>
                  <a:gd name="connsiteY39" fmla="*/ 71437 h 328613"/>
                  <a:gd name="connsiteX40" fmla="*/ 192087 w 331788"/>
                  <a:gd name="connsiteY40" fmla="*/ 56732 h 328613"/>
                  <a:gd name="connsiteX41" fmla="*/ 243681 w 331788"/>
                  <a:gd name="connsiteY41" fmla="*/ 48711 h 328613"/>
                  <a:gd name="connsiteX42" fmla="*/ 85725 w 331788"/>
                  <a:gd name="connsiteY42" fmla="*/ 48683 h 328613"/>
                  <a:gd name="connsiteX43" fmla="*/ 136525 w 331788"/>
                  <a:gd name="connsiteY43" fmla="*/ 56621 h 328613"/>
                  <a:gd name="connsiteX44" fmla="*/ 132667 w 331788"/>
                  <a:gd name="connsiteY44" fmla="*/ 69850 h 328613"/>
                  <a:gd name="connsiteX45" fmla="*/ 38783 w 331788"/>
                  <a:gd name="connsiteY45" fmla="*/ 69850 h 328613"/>
                  <a:gd name="connsiteX46" fmla="*/ 34925 w 331788"/>
                  <a:gd name="connsiteY46" fmla="*/ 56621 h 328613"/>
                  <a:gd name="connsiteX47" fmla="*/ 85725 w 331788"/>
                  <a:gd name="connsiteY47" fmla="*/ 48683 h 328613"/>
                  <a:gd name="connsiteX48" fmla="*/ 245779 w 331788"/>
                  <a:gd name="connsiteY48" fmla="*/ 12700 h 328613"/>
                  <a:gd name="connsiteX49" fmla="*/ 171450 w 331788"/>
                  <a:gd name="connsiteY49" fmla="*/ 28215 h 328613"/>
                  <a:gd name="connsiteX50" fmla="*/ 171450 w 331788"/>
                  <a:gd name="connsiteY50" fmla="*/ 263525 h 328613"/>
                  <a:gd name="connsiteX51" fmla="*/ 192314 w 331788"/>
                  <a:gd name="connsiteY51" fmla="*/ 257061 h 328613"/>
                  <a:gd name="connsiteX52" fmla="*/ 205355 w 331788"/>
                  <a:gd name="connsiteY52" fmla="*/ 205344 h 328613"/>
                  <a:gd name="connsiteX53" fmla="*/ 279684 w 331788"/>
                  <a:gd name="connsiteY53" fmla="*/ 205344 h 328613"/>
                  <a:gd name="connsiteX54" fmla="*/ 294028 w 331788"/>
                  <a:gd name="connsiteY54" fmla="*/ 257061 h 328613"/>
                  <a:gd name="connsiteX55" fmla="*/ 317500 w 331788"/>
                  <a:gd name="connsiteY55" fmla="*/ 263525 h 328613"/>
                  <a:gd name="connsiteX56" fmla="*/ 317500 w 331788"/>
                  <a:gd name="connsiteY56" fmla="*/ 28215 h 328613"/>
                  <a:gd name="connsiteX57" fmla="*/ 245779 w 331788"/>
                  <a:gd name="connsiteY57" fmla="*/ 12700 h 328613"/>
                  <a:gd name="connsiteX58" fmla="*/ 84931 w 331788"/>
                  <a:gd name="connsiteY58" fmla="*/ 12700 h 328613"/>
                  <a:gd name="connsiteX59" fmla="*/ 12700 w 331788"/>
                  <a:gd name="connsiteY59" fmla="*/ 28215 h 328613"/>
                  <a:gd name="connsiteX60" fmla="*/ 12700 w 331788"/>
                  <a:gd name="connsiteY60" fmla="*/ 263525 h 328613"/>
                  <a:gd name="connsiteX61" fmla="*/ 84931 w 331788"/>
                  <a:gd name="connsiteY61" fmla="*/ 249303 h 328613"/>
                  <a:gd name="connsiteX62" fmla="*/ 157163 w 331788"/>
                  <a:gd name="connsiteY62" fmla="*/ 263525 h 328613"/>
                  <a:gd name="connsiteX63" fmla="*/ 157163 w 331788"/>
                  <a:gd name="connsiteY63" fmla="*/ 28215 h 328613"/>
                  <a:gd name="connsiteX64" fmla="*/ 84931 w 331788"/>
                  <a:gd name="connsiteY64" fmla="*/ 12700 h 328613"/>
                  <a:gd name="connsiteX65" fmla="*/ 86835 w 331788"/>
                  <a:gd name="connsiteY65" fmla="*/ 0 h 328613"/>
                  <a:gd name="connsiteX66" fmla="*/ 165894 w 331788"/>
                  <a:gd name="connsiteY66" fmla="*/ 15525 h 328613"/>
                  <a:gd name="connsiteX67" fmla="*/ 244953 w 331788"/>
                  <a:gd name="connsiteY67" fmla="*/ 0 h 328613"/>
                  <a:gd name="connsiteX68" fmla="*/ 326604 w 331788"/>
                  <a:gd name="connsiteY68" fmla="*/ 16819 h 328613"/>
                  <a:gd name="connsiteX69" fmla="*/ 331788 w 331788"/>
                  <a:gd name="connsiteY69" fmla="*/ 23288 h 328613"/>
                  <a:gd name="connsiteX70" fmla="*/ 331788 w 331788"/>
                  <a:gd name="connsiteY70" fmla="*/ 274276 h 328613"/>
                  <a:gd name="connsiteX71" fmla="*/ 322716 w 331788"/>
                  <a:gd name="connsiteY71" fmla="*/ 280744 h 328613"/>
                  <a:gd name="connsiteX72" fmla="*/ 289019 w 331788"/>
                  <a:gd name="connsiteY72" fmla="*/ 269101 h 328613"/>
                  <a:gd name="connsiteX73" fmla="*/ 285130 w 331788"/>
                  <a:gd name="connsiteY73" fmla="*/ 274276 h 328613"/>
                  <a:gd name="connsiteX74" fmla="*/ 329196 w 331788"/>
                  <a:gd name="connsiteY74" fmla="*/ 318263 h 328613"/>
                  <a:gd name="connsiteX75" fmla="*/ 318828 w 331788"/>
                  <a:gd name="connsiteY75" fmla="*/ 328613 h 328613"/>
                  <a:gd name="connsiteX76" fmla="*/ 274762 w 331788"/>
                  <a:gd name="connsiteY76" fmla="*/ 284626 h 328613"/>
                  <a:gd name="connsiteX77" fmla="*/ 206072 w 331788"/>
                  <a:gd name="connsiteY77" fmla="*/ 279451 h 328613"/>
                  <a:gd name="connsiteX78" fmla="*/ 198295 w 331788"/>
                  <a:gd name="connsiteY78" fmla="*/ 270394 h 328613"/>
                  <a:gd name="connsiteX79" fmla="*/ 167190 w 331788"/>
                  <a:gd name="connsiteY79" fmla="*/ 280744 h 328613"/>
                  <a:gd name="connsiteX80" fmla="*/ 163302 w 331788"/>
                  <a:gd name="connsiteY80" fmla="*/ 280744 h 328613"/>
                  <a:gd name="connsiteX81" fmla="*/ 85539 w 331788"/>
                  <a:gd name="connsiteY81" fmla="*/ 263926 h 328613"/>
                  <a:gd name="connsiteX82" fmla="*/ 9072 w 331788"/>
                  <a:gd name="connsiteY82" fmla="*/ 280744 h 328613"/>
                  <a:gd name="connsiteX83" fmla="*/ 0 w 331788"/>
                  <a:gd name="connsiteY83" fmla="*/ 274276 h 328613"/>
                  <a:gd name="connsiteX84" fmla="*/ 0 w 331788"/>
                  <a:gd name="connsiteY84" fmla="*/ 23288 h 328613"/>
                  <a:gd name="connsiteX85" fmla="*/ 5184 w 331788"/>
                  <a:gd name="connsiteY85" fmla="*/ 16819 h 328613"/>
                  <a:gd name="connsiteX86" fmla="*/ 86835 w 331788"/>
                  <a:gd name="connsiteY86" fmla="*/ 0 h 3286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</a:cxnLst>
                <a:rect l="l" t="t" r="r" b="b"/>
                <a:pathLst>
                  <a:path w="331788" h="328613">
                    <a:moveTo>
                      <a:pt x="242094" y="203585"/>
                    </a:moveTo>
                    <a:cubicBezTo>
                      <a:pt x="232062" y="203585"/>
                      <a:pt x="222031" y="207145"/>
                      <a:pt x="214264" y="214264"/>
                    </a:cubicBezTo>
                    <a:cubicBezTo>
                      <a:pt x="200025" y="229797"/>
                      <a:pt x="200025" y="254391"/>
                      <a:pt x="214264" y="269924"/>
                    </a:cubicBezTo>
                    <a:cubicBezTo>
                      <a:pt x="229797" y="284163"/>
                      <a:pt x="254391" y="284163"/>
                      <a:pt x="269924" y="269924"/>
                    </a:cubicBezTo>
                    <a:cubicBezTo>
                      <a:pt x="284163" y="254391"/>
                      <a:pt x="284163" y="229797"/>
                      <a:pt x="269924" y="214264"/>
                    </a:cubicBezTo>
                    <a:cubicBezTo>
                      <a:pt x="262158" y="207145"/>
                      <a:pt x="252126" y="203585"/>
                      <a:pt x="242094" y="203585"/>
                    </a:cubicBezTo>
                    <a:close/>
                    <a:moveTo>
                      <a:pt x="85725" y="200752"/>
                    </a:moveTo>
                    <a:cubicBezTo>
                      <a:pt x="102122" y="200752"/>
                      <a:pt x="118520" y="203067"/>
                      <a:pt x="136525" y="207698"/>
                    </a:cubicBezTo>
                    <a:cubicBezTo>
                      <a:pt x="136525" y="207698"/>
                      <a:pt x="136525" y="207698"/>
                      <a:pt x="132667" y="222250"/>
                    </a:cubicBezTo>
                    <a:cubicBezTo>
                      <a:pt x="99229" y="211667"/>
                      <a:pt x="72221" y="211667"/>
                      <a:pt x="38783" y="222250"/>
                    </a:cubicBezTo>
                    <a:cubicBezTo>
                      <a:pt x="38783" y="222250"/>
                      <a:pt x="38783" y="222250"/>
                      <a:pt x="34925" y="207698"/>
                    </a:cubicBezTo>
                    <a:cubicBezTo>
                      <a:pt x="52930" y="203067"/>
                      <a:pt x="69327" y="200752"/>
                      <a:pt x="85725" y="200752"/>
                    </a:cubicBezTo>
                    <a:close/>
                    <a:moveTo>
                      <a:pt x="86038" y="150283"/>
                    </a:moveTo>
                    <a:cubicBezTo>
                      <a:pt x="102226" y="150283"/>
                      <a:pt x="118574" y="152929"/>
                      <a:pt x="136525" y="158221"/>
                    </a:cubicBezTo>
                    <a:cubicBezTo>
                      <a:pt x="136525" y="158221"/>
                      <a:pt x="136525" y="158221"/>
                      <a:pt x="132678" y="171450"/>
                    </a:cubicBezTo>
                    <a:cubicBezTo>
                      <a:pt x="99341" y="162190"/>
                      <a:pt x="72414" y="162190"/>
                      <a:pt x="39076" y="171450"/>
                    </a:cubicBezTo>
                    <a:cubicBezTo>
                      <a:pt x="39076" y="171450"/>
                      <a:pt x="39076" y="171450"/>
                      <a:pt x="36512" y="158221"/>
                    </a:cubicBezTo>
                    <a:cubicBezTo>
                      <a:pt x="53822" y="152929"/>
                      <a:pt x="69850" y="150283"/>
                      <a:pt x="86038" y="150283"/>
                    </a:cubicBezTo>
                    <a:close/>
                    <a:moveTo>
                      <a:pt x="243681" y="148724"/>
                    </a:moveTo>
                    <a:cubicBezTo>
                      <a:pt x="260335" y="148724"/>
                      <a:pt x="276989" y="151398"/>
                      <a:pt x="295275" y="156745"/>
                    </a:cubicBezTo>
                    <a:cubicBezTo>
                      <a:pt x="295275" y="156745"/>
                      <a:pt x="295275" y="156745"/>
                      <a:pt x="292663" y="171450"/>
                    </a:cubicBezTo>
                    <a:cubicBezTo>
                      <a:pt x="257396" y="162092"/>
                      <a:pt x="231272" y="162092"/>
                      <a:pt x="197312" y="171450"/>
                    </a:cubicBezTo>
                    <a:cubicBezTo>
                      <a:pt x="197312" y="171450"/>
                      <a:pt x="197312" y="171450"/>
                      <a:pt x="192087" y="156745"/>
                    </a:cubicBezTo>
                    <a:cubicBezTo>
                      <a:pt x="210374" y="151398"/>
                      <a:pt x="227027" y="148724"/>
                      <a:pt x="243681" y="148724"/>
                    </a:cubicBezTo>
                    <a:close/>
                    <a:moveTo>
                      <a:pt x="86038" y="99483"/>
                    </a:moveTo>
                    <a:cubicBezTo>
                      <a:pt x="102226" y="99483"/>
                      <a:pt x="118574" y="102129"/>
                      <a:pt x="136525" y="107421"/>
                    </a:cubicBezTo>
                    <a:cubicBezTo>
                      <a:pt x="136525" y="107421"/>
                      <a:pt x="136525" y="107421"/>
                      <a:pt x="132678" y="120650"/>
                    </a:cubicBezTo>
                    <a:cubicBezTo>
                      <a:pt x="99341" y="111390"/>
                      <a:pt x="72414" y="111390"/>
                      <a:pt x="39076" y="120650"/>
                    </a:cubicBezTo>
                    <a:cubicBezTo>
                      <a:pt x="39076" y="120650"/>
                      <a:pt x="39076" y="120650"/>
                      <a:pt x="36512" y="107421"/>
                    </a:cubicBezTo>
                    <a:cubicBezTo>
                      <a:pt x="53822" y="102129"/>
                      <a:pt x="69850" y="99483"/>
                      <a:pt x="86038" y="99483"/>
                    </a:cubicBezTo>
                    <a:close/>
                    <a:moveTo>
                      <a:pt x="243681" y="99152"/>
                    </a:moveTo>
                    <a:cubicBezTo>
                      <a:pt x="260335" y="99152"/>
                      <a:pt x="276989" y="101467"/>
                      <a:pt x="295275" y="106098"/>
                    </a:cubicBezTo>
                    <a:cubicBezTo>
                      <a:pt x="295275" y="106098"/>
                      <a:pt x="295275" y="106098"/>
                      <a:pt x="292663" y="120650"/>
                    </a:cubicBezTo>
                    <a:cubicBezTo>
                      <a:pt x="257396" y="111390"/>
                      <a:pt x="231272" y="111390"/>
                      <a:pt x="196006" y="120650"/>
                    </a:cubicBezTo>
                    <a:cubicBezTo>
                      <a:pt x="196006" y="120650"/>
                      <a:pt x="196006" y="120650"/>
                      <a:pt x="192087" y="106098"/>
                    </a:cubicBezTo>
                    <a:cubicBezTo>
                      <a:pt x="210374" y="101467"/>
                      <a:pt x="227027" y="99152"/>
                      <a:pt x="243681" y="99152"/>
                    </a:cubicBezTo>
                    <a:close/>
                    <a:moveTo>
                      <a:pt x="243681" y="48711"/>
                    </a:moveTo>
                    <a:cubicBezTo>
                      <a:pt x="260335" y="48711"/>
                      <a:pt x="276989" y="51385"/>
                      <a:pt x="295275" y="56732"/>
                    </a:cubicBezTo>
                    <a:cubicBezTo>
                      <a:pt x="295275" y="56732"/>
                      <a:pt x="295275" y="56732"/>
                      <a:pt x="292663" y="71437"/>
                    </a:cubicBezTo>
                    <a:cubicBezTo>
                      <a:pt x="257396" y="60742"/>
                      <a:pt x="231272" y="60742"/>
                      <a:pt x="197312" y="71437"/>
                    </a:cubicBezTo>
                    <a:cubicBezTo>
                      <a:pt x="197312" y="71437"/>
                      <a:pt x="197312" y="71437"/>
                      <a:pt x="192087" y="56732"/>
                    </a:cubicBezTo>
                    <a:cubicBezTo>
                      <a:pt x="210374" y="51385"/>
                      <a:pt x="227027" y="48711"/>
                      <a:pt x="243681" y="48711"/>
                    </a:cubicBezTo>
                    <a:close/>
                    <a:moveTo>
                      <a:pt x="85725" y="48683"/>
                    </a:moveTo>
                    <a:cubicBezTo>
                      <a:pt x="102122" y="48683"/>
                      <a:pt x="118520" y="51329"/>
                      <a:pt x="136525" y="56621"/>
                    </a:cubicBezTo>
                    <a:cubicBezTo>
                      <a:pt x="136525" y="56621"/>
                      <a:pt x="136525" y="56621"/>
                      <a:pt x="132667" y="69850"/>
                    </a:cubicBezTo>
                    <a:cubicBezTo>
                      <a:pt x="99229" y="60590"/>
                      <a:pt x="72221" y="60590"/>
                      <a:pt x="38783" y="69850"/>
                    </a:cubicBezTo>
                    <a:lnTo>
                      <a:pt x="34925" y="56621"/>
                    </a:lnTo>
                    <a:cubicBezTo>
                      <a:pt x="52930" y="51329"/>
                      <a:pt x="69327" y="48683"/>
                      <a:pt x="85725" y="48683"/>
                    </a:cubicBezTo>
                    <a:close/>
                    <a:moveTo>
                      <a:pt x="245779" y="12700"/>
                    </a:moveTo>
                    <a:cubicBezTo>
                      <a:pt x="224915" y="12700"/>
                      <a:pt x="201443" y="16579"/>
                      <a:pt x="171450" y="28215"/>
                    </a:cubicBezTo>
                    <a:cubicBezTo>
                      <a:pt x="171450" y="28215"/>
                      <a:pt x="171450" y="28215"/>
                      <a:pt x="171450" y="263525"/>
                    </a:cubicBezTo>
                    <a:cubicBezTo>
                      <a:pt x="176666" y="262232"/>
                      <a:pt x="185794" y="259646"/>
                      <a:pt x="192314" y="257061"/>
                    </a:cubicBezTo>
                    <a:cubicBezTo>
                      <a:pt x="185794" y="238960"/>
                      <a:pt x="191010" y="219566"/>
                      <a:pt x="205355" y="205344"/>
                    </a:cubicBezTo>
                    <a:cubicBezTo>
                      <a:pt x="226219" y="184657"/>
                      <a:pt x="258819" y="184657"/>
                      <a:pt x="279684" y="205344"/>
                    </a:cubicBezTo>
                    <a:cubicBezTo>
                      <a:pt x="294028" y="218273"/>
                      <a:pt x="299244" y="238960"/>
                      <a:pt x="294028" y="257061"/>
                    </a:cubicBezTo>
                    <a:cubicBezTo>
                      <a:pt x="301852" y="258353"/>
                      <a:pt x="312284" y="262232"/>
                      <a:pt x="317500" y="263525"/>
                    </a:cubicBezTo>
                    <a:lnTo>
                      <a:pt x="317500" y="28215"/>
                    </a:lnTo>
                    <a:cubicBezTo>
                      <a:pt x="288812" y="17872"/>
                      <a:pt x="266643" y="12700"/>
                      <a:pt x="245779" y="12700"/>
                    </a:cubicBezTo>
                    <a:close/>
                    <a:moveTo>
                      <a:pt x="84931" y="12700"/>
                    </a:moveTo>
                    <a:cubicBezTo>
                      <a:pt x="63004" y="12700"/>
                      <a:pt x="42366" y="17872"/>
                      <a:pt x="12700" y="28215"/>
                    </a:cubicBezTo>
                    <a:cubicBezTo>
                      <a:pt x="12700" y="28215"/>
                      <a:pt x="12700" y="28215"/>
                      <a:pt x="12700" y="263525"/>
                    </a:cubicBezTo>
                    <a:cubicBezTo>
                      <a:pt x="41077" y="254475"/>
                      <a:pt x="63004" y="249303"/>
                      <a:pt x="84931" y="249303"/>
                    </a:cubicBezTo>
                    <a:cubicBezTo>
                      <a:pt x="106859" y="249303"/>
                      <a:pt x="128786" y="254475"/>
                      <a:pt x="157163" y="263525"/>
                    </a:cubicBezTo>
                    <a:lnTo>
                      <a:pt x="157163" y="28215"/>
                    </a:lnTo>
                    <a:cubicBezTo>
                      <a:pt x="128786" y="17872"/>
                      <a:pt x="106859" y="12700"/>
                      <a:pt x="84931" y="12700"/>
                    </a:cubicBezTo>
                    <a:close/>
                    <a:moveTo>
                      <a:pt x="86835" y="0"/>
                    </a:moveTo>
                    <a:cubicBezTo>
                      <a:pt x="110164" y="0"/>
                      <a:pt x="133493" y="5175"/>
                      <a:pt x="165894" y="15525"/>
                    </a:cubicBezTo>
                    <a:cubicBezTo>
                      <a:pt x="198295" y="5175"/>
                      <a:pt x="221624" y="0"/>
                      <a:pt x="244953" y="0"/>
                    </a:cubicBezTo>
                    <a:cubicBezTo>
                      <a:pt x="269578" y="0"/>
                      <a:pt x="294203" y="5175"/>
                      <a:pt x="326604" y="16819"/>
                    </a:cubicBezTo>
                    <a:cubicBezTo>
                      <a:pt x="329196" y="18113"/>
                      <a:pt x="331788" y="20700"/>
                      <a:pt x="331788" y="23288"/>
                    </a:cubicBezTo>
                    <a:cubicBezTo>
                      <a:pt x="331788" y="23288"/>
                      <a:pt x="331788" y="23288"/>
                      <a:pt x="331788" y="274276"/>
                    </a:cubicBezTo>
                    <a:cubicBezTo>
                      <a:pt x="331788" y="280744"/>
                      <a:pt x="325308" y="280744"/>
                      <a:pt x="322716" y="280744"/>
                    </a:cubicBezTo>
                    <a:cubicBezTo>
                      <a:pt x="313643" y="276863"/>
                      <a:pt x="299387" y="272982"/>
                      <a:pt x="289019" y="269101"/>
                    </a:cubicBezTo>
                    <a:cubicBezTo>
                      <a:pt x="287723" y="271688"/>
                      <a:pt x="286427" y="272982"/>
                      <a:pt x="285130" y="274276"/>
                    </a:cubicBezTo>
                    <a:cubicBezTo>
                      <a:pt x="285130" y="274276"/>
                      <a:pt x="285130" y="274276"/>
                      <a:pt x="329196" y="318263"/>
                    </a:cubicBezTo>
                    <a:cubicBezTo>
                      <a:pt x="329196" y="318263"/>
                      <a:pt x="329196" y="318263"/>
                      <a:pt x="318828" y="328613"/>
                    </a:cubicBezTo>
                    <a:cubicBezTo>
                      <a:pt x="318828" y="328613"/>
                      <a:pt x="318828" y="328613"/>
                      <a:pt x="274762" y="284626"/>
                    </a:cubicBezTo>
                    <a:cubicBezTo>
                      <a:pt x="254025" y="300151"/>
                      <a:pt x="224216" y="298857"/>
                      <a:pt x="206072" y="279451"/>
                    </a:cubicBezTo>
                    <a:cubicBezTo>
                      <a:pt x="202183" y="276863"/>
                      <a:pt x="200887" y="274276"/>
                      <a:pt x="198295" y="270394"/>
                    </a:cubicBezTo>
                    <a:cubicBezTo>
                      <a:pt x="189223" y="272982"/>
                      <a:pt x="174966" y="278157"/>
                      <a:pt x="167190" y="280744"/>
                    </a:cubicBezTo>
                    <a:cubicBezTo>
                      <a:pt x="165894" y="280744"/>
                      <a:pt x="164598" y="280744"/>
                      <a:pt x="163302" y="280744"/>
                    </a:cubicBezTo>
                    <a:cubicBezTo>
                      <a:pt x="130901" y="269101"/>
                      <a:pt x="108868" y="263926"/>
                      <a:pt x="85539" y="263926"/>
                    </a:cubicBezTo>
                    <a:cubicBezTo>
                      <a:pt x="63506" y="263926"/>
                      <a:pt x="40177" y="269101"/>
                      <a:pt x="9072" y="280744"/>
                    </a:cubicBezTo>
                    <a:cubicBezTo>
                      <a:pt x="6480" y="280744"/>
                      <a:pt x="0" y="280744"/>
                      <a:pt x="0" y="274276"/>
                    </a:cubicBezTo>
                    <a:cubicBezTo>
                      <a:pt x="0" y="274276"/>
                      <a:pt x="0" y="274276"/>
                      <a:pt x="0" y="23288"/>
                    </a:cubicBezTo>
                    <a:cubicBezTo>
                      <a:pt x="0" y="20700"/>
                      <a:pt x="2592" y="18113"/>
                      <a:pt x="5184" y="16819"/>
                    </a:cubicBezTo>
                    <a:cubicBezTo>
                      <a:pt x="37585" y="5175"/>
                      <a:pt x="62210" y="0"/>
                      <a:pt x="86835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pic>
          <p:nvPicPr>
            <p:cNvPr id="182" name="图片占位符 181"/>
            <p:cNvPicPr>
              <a:picLocks noGrp="1"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2125" y="3107"/>
              <a:ext cx="7714" cy="4137"/>
            </a:xfrm>
            <a:custGeom>
              <a:avLst/>
              <a:gdLst>
                <a:gd name="connsiteX0" fmla="*/ 0 w 4898481"/>
                <a:gd name="connsiteY0" fmla="*/ 0 h 2627157"/>
                <a:gd name="connsiteX1" fmla="*/ 4898481 w 4898481"/>
                <a:gd name="connsiteY1" fmla="*/ 0 h 2627157"/>
                <a:gd name="connsiteX2" fmla="*/ 4898481 w 4898481"/>
                <a:gd name="connsiteY2" fmla="*/ 2627157 h 2627157"/>
                <a:gd name="connsiteX3" fmla="*/ 0 w 4898481"/>
                <a:gd name="connsiteY3" fmla="*/ 2627157 h 2627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898481" h="2627157">
                  <a:moveTo>
                    <a:pt x="0" y="0"/>
                  </a:moveTo>
                  <a:lnTo>
                    <a:pt x="4898481" y="0"/>
                  </a:lnTo>
                  <a:lnTo>
                    <a:pt x="4898481" y="2627157"/>
                  </a:lnTo>
                  <a:lnTo>
                    <a:pt x="0" y="2627157"/>
                  </a:lnTo>
                  <a:close/>
                </a:path>
              </a:pathLst>
            </a:custGeom>
          </p:spPr>
        </p:pic>
      </p:grpSp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400" tmFilter="0,0; .5, 1; 1, 1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31"/>
          <p:cNvSpPr txBox="1"/>
          <p:nvPr/>
        </p:nvSpPr>
        <p:spPr>
          <a:xfrm>
            <a:off x="1953301" y="118784"/>
            <a:ext cx="5208588" cy="5847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defPPr>
              <a:defRPr lang="zh-CN"/>
            </a:defPPr>
            <a:lvl1pPr lvl="0">
              <a:defRPr sz="3600" b="1">
                <a:solidFill>
                  <a:schemeClr val="accent2"/>
                </a:solidFill>
                <a:cs typeface="+mn-ea"/>
              </a:defRPr>
            </a:lvl1pPr>
          </a:lstStyle>
          <a:p>
            <a:r>
              <a:rPr lang="en-US" altLang="zh-CN" sz="3200" dirty="0">
                <a:sym typeface="+mn-lt"/>
              </a:rPr>
              <a:t>Information-based Teaching</a:t>
            </a:r>
            <a:endParaRPr lang="zh-CN" altLang="en-US" dirty="0">
              <a:sym typeface="+mn-lt"/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653415" y="1734820"/>
            <a:ext cx="6899910" cy="2493010"/>
            <a:chOff x="1180" y="3438"/>
            <a:chExt cx="13569" cy="4903"/>
          </a:xfrm>
        </p:grpSpPr>
        <p:grpSp>
          <p:nvGrpSpPr>
            <p:cNvPr id="38" name="组合 37"/>
            <p:cNvGrpSpPr/>
            <p:nvPr/>
          </p:nvGrpSpPr>
          <p:grpSpPr>
            <a:xfrm>
              <a:off x="1180" y="3994"/>
              <a:ext cx="13569" cy="3880"/>
              <a:chOff x="749295" y="2536168"/>
              <a:chExt cx="8616111" cy="2463802"/>
            </a:xfrm>
          </p:grpSpPr>
          <p:sp>
            <p:nvSpPr>
              <p:cNvPr id="8" name="îSḷïdé"/>
              <p:cNvSpPr/>
              <p:nvPr/>
            </p:nvSpPr>
            <p:spPr>
              <a:xfrm>
                <a:off x="749295" y="2536168"/>
                <a:ext cx="2389927" cy="12301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837" y="21600"/>
                    </a:moveTo>
                    <a:cubicBezTo>
                      <a:pt x="2832" y="21400"/>
                      <a:pt x="2829" y="21173"/>
                      <a:pt x="2829" y="20960"/>
                    </a:cubicBezTo>
                    <a:cubicBezTo>
                      <a:pt x="2829" y="12417"/>
                      <a:pt x="6398" y="5489"/>
                      <a:pt x="10800" y="5489"/>
                    </a:cubicBezTo>
                    <a:cubicBezTo>
                      <a:pt x="15202" y="5489"/>
                      <a:pt x="18771" y="12417"/>
                      <a:pt x="18771" y="20961"/>
                    </a:cubicBezTo>
                    <a:cubicBezTo>
                      <a:pt x="18771" y="21174"/>
                      <a:pt x="18768" y="21400"/>
                      <a:pt x="18763" y="21600"/>
                    </a:cubicBezTo>
                    <a:lnTo>
                      <a:pt x="21595" y="21600"/>
                    </a:lnTo>
                    <a:cubicBezTo>
                      <a:pt x="21598" y="21400"/>
                      <a:pt x="21600" y="21173"/>
                      <a:pt x="21600" y="20960"/>
                    </a:cubicBezTo>
                    <a:cubicBezTo>
                      <a:pt x="21600" y="9385"/>
                      <a:pt x="16765" y="0"/>
                      <a:pt x="10800" y="0"/>
                    </a:cubicBezTo>
                    <a:cubicBezTo>
                      <a:pt x="4835" y="0"/>
                      <a:pt x="0" y="9386"/>
                      <a:pt x="0" y="20961"/>
                    </a:cubicBezTo>
                    <a:cubicBezTo>
                      <a:pt x="0" y="21174"/>
                      <a:pt x="2" y="21400"/>
                      <a:pt x="5" y="21600"/>
                    </a:cubicBezTo>
                    <a:cubicBezTo>
                      <a:pt x="5" y="21600"/>
                      <a:pt x="2837" y="21600"/>
                      <a:pt x="2837" y="21600"/>
                    </a:cubicBezTo>
                    <a:close/>
                  </a:path>
                </a:pathLst>
              </a:custGeom>
              <a:solidFill>
                <a:srgbClr val="B1B5E1"/>
              </a:solidFill>
              <a:ln w="12700">
                <a:solidFill>
                  <a:srgbClr val="000000">
                    <a:alpha val="0"/>
                  </a:srgbClr>
                </a:solidFill>
                <a:miter lim="4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" name="î$1iḍé"/>
              <p:cNvSpPr/>
              <p:nvPr/>
            </p:nvSpPr>
            <p:spPr>
              <a:xfrm rot="10800000" flipH="1">
                <a:off x="2826589" y="3769784"/>
                <a:ext cx="2389927" cy="12301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837" y="21600"/>
                    </a:moveTo>
                    <a:cubicBezTo>
                      <a:pt x="2832" y="21400"/>
                      <a:pt x="2829" y="21173"/>
                      <a:pt x="2829" y="20960"/>
                    </a:cubicBezTo>
                    <a:cubicBezTo>
                      <a:pt x="2829" y="12417"/>
                      <a:pt x="6398" y="5489"/>
                      <a:pt x="10800" y="5489"/>
                    </a:cubicBezTo>
                    <a:cubicBezTo>
                      <a:pt x="15202" y="5489"/>
                      <a:pt x="18771" y="12417"/>
                      <a:pt x="18771" y="20961"/>
                    </a:cubicBezTo>
                    <a:cubicBezTo>
                      <a:pt x="18771" y="21174"/>
                      <a:pt x="18768" y="21400"/>
                      <a:pt x="18763" y="21600"/>
                    </a:cubicBezTo>
                    <a:lnTo>
                      <a:pt x="21595" y="21600"/>
                    </a:lnTo>
                    <a:cubicBezTo>
                      <a:pt x="21598" y="21400"/>
                      <a:pt x="21600" y="21173"/>
                      <a:pt x="21600" y="20960"/>
                    </a:cubicBezTo>
                    <a:cubicBezTo>
                      <a:pt x="21600" y="9385"/>
                      <a:pt x="16765" y="0"/>
                      <a:pt x="10800" y="0"/>
                    </a:cubicBezTo>
                    <a:cubicBezTo>
                      <a:pt x="4835" y="0"/>
                      <a:pt x="0" y="9386"/>
                      <a:pt x="0" y="20961"/>
                    </a:cubicBezTo>
                    <a:cubicBezTo>
                      <a:pt x="0" y="21174"/>
                      <a:pt x="2" y="21400"/>
                      <a:pt x="5" y="21600"/>
                    </a:cubicBezTo>
                    <a:cubicBezTo>
                      <a:pt x="5" y="21600"/>
                      <a:pt x="2837" y="21600"/>
                      <a:pt x="2837" y="2160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12700">
                <a:solidFill>
                  <a:srgbClr val="000000">
                    <a:alpha val="0"/>
                  </a:srgbClr>
                </a:solidFill>
                <a:miter lim="4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" name="ïṡlíďè"/>
              <p:cNvSpPr/>
              <p:nvPr/>
            </p:nvSpPr>
            <p:spPr>
              <a:xfrm>
                <a:off x="4898187" y="2536168"/>
                <a:ext cx="2389927" cy="12301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837" y="21600"/>
                    </a:moveTo>
                    <a:cubicBezTo>
                      <a:pt x="2832" y="21400"/>
                      <a:pt x="2829" y="21173"/>
                      <a:pt x="2829" y="20960"/>
                    </a:cubicBezTo>
                    <a:cubicBezTo>
                      <a:pt x="2829" y="12417"/>
                      <a:pt x="6398" y="5489"/>
                      <a:pt x="10800" y="5489"/>
                    </a:cubicBezTo>
                    <a:cubicBezTo>
                      <a:pt x="15202" y="5489"/>
                      <a:pt x="18771" y="12417"/>
                      <a:pt x="18771" y="20961"/>
                    </a:cubicBezTo>
                    <a:cubicBezTo>
                      <a:pt x="18771" y="21174"/>
                      <a:pt x="18768" y="21400"/>
                      <a:pt x="18763" y="21600"/>
                    </a:cubicBezTo>
                    <a:lnTo>
                      <a:pt x="21595" y="21600"/>
                    </a:lnTo>
                    <a:cubicBezTo>
                      <a:pt x="21598" y="21400"/>
                      <a:pt x="21600" y="21173"/>
                      <a:pt x="21600" y="20960"/>
                    </a:cubicBezTo>
                    <a:cubicBezTo>
                      <a:pt x="21600" y="9385"/>
                      <a:pt x="16765" y="0"/>
                      <a:pt x="10800" y="0"/>
                    </a:cubicBezTo>
                    <a:cubicBezTo>
                      <a:pt x="4835" y="0"/>
                      <a:pt x="0" y="9386"/>
                      <a:pt x="0" y="20961"/>
                    </a:cubicBezTo>
                    <a:cubicBezTo>
                      <a:pt x="0" y="21174"/>
                      <a:pt x="2" y="21400"/>
                      <a:pt x="5" y="21600"/>
                    </a:cubicBezTo>
                    <a:cubicBezTo>
                      <a:pt x="5" y="21600"/>
                      <a:pt x="2837" y="21600"/>
                      <a:pt x="2837" y="21600"/>
                    </a:cubicBezTo>
                    <a:close/>
                  </a:path>
                </a:pathLst>
              </a:custGeom>
              <a:solidFill>
                <a:srgbClr val="B1B5E1"/>
              </a:solidFill>
              <a:ln w="12700">
                <a:solidFill>
                  <a:srgbClr val="000000">
                    <a:alpha val="0"/>
                  </a:srgbClr>
                </a:solidFill>
                <a:miter lim="4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" name="işḷïḍé"/>
              <p:cNvSpPr/>
              <p:nvPr/>
            </p:nvSpPr>
            <p:spPr>
              <a:xfrm rot="10800000" flipH="1">
                <a:off x="6975479" y="3769784"/>
                <a:ext cx="2389927" cy="123018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837" y="21600"/>
                    </a:moveTo>
                    <a:cubicBezTo>
                      <a:pt x="2832" y="21400"/>
                      <a:pt x="2829" y="21173"/>
                      <a:pt x="2829" y="20960"/>
                    </a:cubicBezTo>
                    <a:cubicBezTo>
                      <a:pt x="2829" y="12417"/>
                      <a:pt x="6398" y="5489"/>
                      <a:pt x="10800" y="5489"/>
                    </a:cubicBezTo>
                    <a:cubicBezTo>
                      <a:pt x="15202" y="5489"/>
                      <a:pt x="18771" y="12417"/>
                      <a:pt x="18771" y="20961"/>
                    </a:cubicBezTo>
                    <a:cubicBezTo>
                      <a:pt x="18771" y="21174"/>
                      <a:pt x="18768" y="21400"/>
                      <a:pt x="18763" y="21600"/>
                    </a:cubicBezTo>
                    <a:lnTo>
                      <a:pt x="21595" y="21600"/>
                    </a:lnTo>
                    <a:cubicBezTo>
                      <a:pt x="21598" y="21400"/>
                      <a:pt x="21600" y="21173"/>
                      <a:pt x="21600" y="20960"/>
                    </a:cubicBezTo>
                    <a:cubicBezTo>
                      <a:pt x="21600" y="9385"/>
                      <a:pt x="16765" y="0"/>
                      <a:pt x="10800" y="0"/>
                    </a:cubicBezTo>
                    <a:cubicBezTo>
                      <a:pt x="4835" y="0"/>
                      <a:pt x="0" y="9386"/>
                      <a:pt x="0" y="20961"/>
                    </a:cubicBezTo>
                    <a:cubicBezTo>
                      <a:pt x="0" y="21174"/>
                      <a:pt x="2" y="21400"/>
                      <a:pt x="5" y="21600"/>
                    </a:cubicBezTo>
                    <a:cubicBezTo>
                      <a:pt x="5" y="21600"/>
                      <a:pt x="2837" y="21600"/>
                      <a:pt x="2837" y="21600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12700">
                <a:solidFill>
                  <a:srgbClr val="000000">
                    <a:alpha val="0"/>
                  </a:srgbClr>
                </a:solidFill>
                <a:miter lim="400000"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39" name="组合 38"/>
            <p:cNvGrpSpPr/>
            <p:nvPr/>
          </p:nvGrpSpPr>
          <p:grpSpPr>
            <a:xfrm>
              <a:off x="1559" y="4825"/>
              <a:ext cx="2892" cy="3516"/>
              <a:chOff x="990193" y="3064022"/>
              <a:chExt cx="1836395" cy="2232532"/>
            </a:xfrm>
          </p:grpSpPr>
          <p:sp>
            <p:nvSpPr>
              <p:cNvPr id="13" name="íṧḻïdê"/>
              <p:cNvSpPr/>
              <p:nvPr/>
            </p:nvSpPr>
            <p:spPr>
              <a:xfrm>
                <a:off x="1233275" y="3064022"/>
                <a:ext cx="1408094" cy="1408094"/>
              </a:xfrm>
              <a:prstGeom prst="ellipse">
                <a:avLst/>
              </a:prstGeom>
              <a:blipFill dpi="0" rotWithShape="1"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a:blip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" name="îŝ1iḑe"/>
              <p:cNvSpPr/>
              <p:nvPr/>
            </p:nvSpPr>
            <p:spPr>
              <a:xfrm>
                <a:off x="990193" y="4633597"/>
                <a:ext cx="1836395" cy="662957"/>
              </a:xfrm>
              <a:prstGeom prst="rect">
                <a:avLst/>
              </a:prstGeom>
            </p:spPr>
            <p:txBody>
              <a:bodyPr wrap="square" lIns="144000" tIns="0" rIns="144000" bIns="0">
                <a:normAutofit fontScale="80000" lnSpcReduction="200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cs typeface="+mn-ea"/>
                    <a:sym typeface="+mn-lt"/>
                  </a:rPr>
                  <a:t>Click here to add content, content to match the title. </a:t>
                </a:r>
              </a:p>
            </p:txBody>
          </p:sp>
          <p:sp>
            <p:nvSpPr>
              <p:cNvPr id="29" name="ïṣļiḑe"/>
              <p:cNvSpPr/>
              <p:nvPr/>
            </p:nvSpPr>
            <p:spPr>
              <a:xfrm>
                <a:off x="990715" y="3611159"/>
                <a:ext cx="1663547" cy="396000"/>
              </a:xfrm>
              <a:prstGeom prst="rect">
                <a:avLst/>
              </a:prstGeom>
            </p:spPr>
            <p:txBody>
              <a:bodyPr wrap="none" lIns="144000" tIns="0" rIns="144000" bIns="0">
                <a:normAutofit/>
              </a:bodyPr>
              <a:lstStyle/>
              <a:p>
                <a:pPr lvl="0" algn="r"/>
                <a:r>
                  <a:rPr lang="en-US" altLang="zh-CN" sz="1800" b="1" dirty="0">
                    <a:solidFill>
                      <a:schemeClr val="bg1"/>
                    </a:solidFill>
                    <a:cs typeface="+mn-ea"/>
                    <a:sym typeface="+mn-lt"/>
                  </a:rPr>
                  <a:t>Add title</a:t>
                </a:r>
                <a:endParaRPr lang="zh-CN" altLang="en-US" sz="18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40" name="组合 39"/>
            <p:cNvGrpSpPr/>
            <p:nvPr/>
          </p:nvGrpSpPr>
          <p:grpSpPr>
            <a:xfrm>
              <a:off x="4869" y="3438"/>
              <a:ext cx="3055" cy="3605"/>
              <a:chOff x="3091560" y="2183102"/>
              <a:chExt cx="1939748" cy="2289014"/>
            </a:xfrm>
          </p:grpSpPr>
          <p:sp>
            <p:nvSpPr>
              <p:cNvPr id="14" name="íṥḷiḋe"/>
              <p:cNvSpPr/>
              <p:nvPr/>
            </p:nvSpPr>
            <p:spPr>
              <a:xfrm>
                <a:off x="3316201" y="3064022"/>
                <a:ext cx="1408094" cy="1408094"/>
              </a:xfrm>
              <a:prstGeom prst="ellipse">
                <a:avLst/>
              </a:prstGeom>
              <a:blipFill dpi="0" rotWithShape="1"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a:blip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" name="îŝ1iḑe"/>
              <p:cNvSpPr/>
              <p:nvPr/>
            </p:nvSpPr>
            <p:spPr>
              <a:xfrm>
                <a:off x="3194913" y="2183102"/>
                <a:ext cx="1836395" cy="662957"/>
              </a:xfrm>
              <a:prstGeom prst="rect">
                <a:avLst/>
              </a:prstGeom>
            </p:spPr>
            <p:txBody>
              <a:bodyPr wrap="square" lIns="144000" tIns="0" rIns="144000" bIns="0">
                <a:normAutofit fontScale="80000" lnSpcReduction="200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cs typeface="+mn-ea"/>
                    <a:sym typeface="+mn-lt"/>
                  </a:rPr>
                  <a:t>Click here to add content, content to match the title. </a:t>
                </a:r>
              </a:p>
            </p:txBody>
          </p:sp>
          <p:sp>
            <p:nvSpPr>
              <p:cNvPr id="31" name="ïṣļiḑe"/>
              <p:cNvSpPr/>
              <p:nvPr/>
            </p:nvSpPr>
            <p:spPr>
              <a:xfrm>
                <a:off x="3091560" y="3611159"/>
                <a:ext cx="1663547" cy="396000"/>
              </a:xfrm>
              <a:prstGeom prst="rect">
                <a:avLst/>
              </a:prstGeom>
            </p:spPr>
            <p:txBody>
              <a:bodyPr wrap="none" lIns="144000" tIns="0" rIns="144000" bIns="0">
                <a:normAutofit/>
              </a:bodyPr>
              <a:lstStyle/>
              <a:p>
                <a:pPr lvl="0" algn="r"/>
                <a:r>
                  <a:rPr lang="en-US" altLang="zh-CN" sz="1800" b="1" dirty="0">
                    <a:solidFill>
                      <a:schemeClr val="bg1"/>
                    </a:solidFill>
                    <a:cs typeface="+mn-ea"/>
                    <a:sym typeface="+mn-lt"/>
                  </a:rPr>
                  <a:t>Add title</a:t>
                </a:r>
                <a:endParaRPr lang="zh-CN" altLang="en-US" sz="18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3" name="组合 2"/>
            <p:cNvGrpSpPr/>
            <p:nvPr/>
          </p:nvGrpSpPr>
          <p:grpSpPr>
            <a:xfrm>
              <a:off x="8005" y="4825"/>
              <a:ext cx="3055" cy="3516"/>
              <a:chOff x="5082920" y="3064022"/>
              <a:chExt cx="1939748" cy="2232532"/>
            </a:xfrm>
          </p:grpSpPr>
          <p:sp>
            <p:nvSpPr>
              <p:cNvPr id="15" name="î$ľiḓè"/>
              <p:cNvSpPr/>
              <p:nvPr/>
            </p:nvSpPr>
            <p:spPr>
              <a:xfrm>
                <a:off x="5390342" y="3064022"/>
                <a:ext cx="1408094" cy="1408094"/>
              </a:xfrm>
              <a:prstGeom prst="ellipse">
                <a:avLst/>
              </a:prstGeom>
              <a:blipFill dpi="0" rotWithShape="1"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a:blip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" name="îŝ1iḑe"/>
              <p:cNvSpPr/>
              <p:nvPr/>
            </p:nvSpPr>
            <p:spPr>
              <a:xfrm>
                <a:off x="5186273" y="4633597"/>
                <a:ext cx="1836395" cy="662957"/>
              </a:xfrm>
              <a:prstGeom prst="rect">
                <a:avLst/>
              </a:prstGeom>
            </p:spPr>
            <p:txBody>
              <a:bodyPr wrap="square" lIns="144000" tIns="0" rIns="144000" bIns="0">
                <a:normAutofit fontScale="80000" lnSpcReduction="200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cs typeface="+mn-ea"/>
                    <a:sym typeface="+mn-lt"/>
                  </a:rPr>
                  <a:t>Click here to add content, content to match the title. </a:t>
                </a:r>
              </a:p>
            </p:txBody>
          </p:sp>
          <p:sp>
            <p:nvSpPr>
              <p:cNvPr id="33" name="ïṣļiḑe"/>
              <p:cNvSpPr/>
              <p:nvPr/>
            </p:nvSpPr>
            <p:spPr>
              <a:xfrm>
                <a:off x="5082920" y="3611159"/>
                <a:ext cx="1663547" cy="396000"/>
              </a:xfrm>
              <a:prstGeom prst="rect">
                <a:avLst/>
              </a:prstGeom>
            </p:spPr>
            <p:txBody>
              <a:bodyPr wrap="none" lIns="144000" tIns="0" rIns="144000" bIns="0">
                <a:normAutofit/>
              </a:bodyPr>
              <a:lstStyle/>
              <a:p>
                <a:pPr lvl="0" algn="r"/>
                <a:r>
                  <a:rPr lang="en-US" altLang="zh-CN" sz="1800" b="1" dirty="0">
                    <a:solidFill>
                      <a:schemeClr val="bg1"/>
                    </a:solidFill>
                    <a:cs typeface="+mn-ea"/>
                    <a:sym typeface="+mn-lt"/>
                  </a:rPr>
                  <a:t>Add title</a:t>
                </a:r>
                <a:endParaRPr lang="zh-CN" altLang="en-US" sz="18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5" name="组合 4"/>
            <p:cNvGrpSpPr/>
            <p:nvPr/>
          </p:nvGrpSpPr>
          <p:grpSpPr>
            <a:xfrm>
              <a:off x="11381" y="3438"/>
              <a:ext cx="3071" cy="3605"/>
              <a:chOff x="7226680" y="2183102"/>
              <a:chExt cx="1949908" cy="2289014"/>
            </a:xfrm>
          </p:grpSpPr>
          <p:sp>
            <p:nvSpPr>
              <p:cNvPr id="16" name="išľîḑé"/>
              <p:cNvSpPr/>
              <p:nvPr/>
            </p:nvSpPr>
            <p:spPr>
              <a:xfrm>
                <a:off x="7468308" y="3064022"/>
                <a:ext cx="1408094" cy="1408094"/>
              </a:xfrm>
              <a:prstGeom prst="ellipse">
                <a:avLst/>
              </a:prstGeom>
              <a:blipFill dpi="0" rotWithShape="1"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a:blipFill>
              <a:ln w="12700" cap="flat" cmpd="sng" algn="ctr">
                <a:noFill/>
                <a:prstDash val="solid"/>
                <a:miter lim="800000"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accent1">
                        <a:shade val="50000"/>
                      </a:schemeClr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" name="îŝ1iḑe"/>
              <p:cNvSpPr/>
              <p:nvPr/>
            </p:nvSpPr>
            <p:spPr>
              <a:xfrm>
                <a:off x="7340193" y="2183102"/>
                <a:ext cx="1836395" cy="662957"/>
              </a:xfrm>
              <a:prstGeom prst="rect">
                <a:avLst/>
              </a:prstGeom>
            </p:spPr>
            <p:txBody>
              <a:bodyPr wrap="square" lIns="144000" tIns="0" rIns="144000" bIns="0">
                <a:normAutofit fontScale="80000" lnSpcReduction="20000"/>
              </a:bodyPr>
              <a:lstStyle/>
              <a:p>
                <a:pPr>
                  <a:lnSpc>
                    <a:spcPct val="120000"/>
                  </a:lnSpc>
                </a:pPr>
                <a:r>
                  <a:rPr lang="en-US" altLang="zh-CN" sz="14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  <a:cs typeface="+mn-ea"/>
                    <a:sym typeface="+mn-lt"/>
                  </a:rPr>
                  <a:t>Click here to add content, content to match the title. </a:t>
                </a:r>
              </a:p>
            </p:txBody>
          </p:sp>
          <p:sp>
            <p:nvSpPr>
              <p:cNvPr id="37" name="ïṣļiḑe"/>
              <p:cNvSpPr/>
              <p:nvPr/>
            </p:nvSpPr>
            <p:spPr>
              <a:xfrm>
                <a:off x="7226680" y="3611159"/>
                <a:ext cx="1663547" cy="396000"/>
              </a:xfrm>
              <a:prstGeom prst="rect">
                <a:avLst/>
              </a:prstGeom>
            </p:spPr>
            <p:txBody>
              <a:bodyPr wrap="none" lIns="144000" tIns="0" rIns="144000" bIns="0">
                <a:normAutofit/>
              </a:bodyPr>
              <a:lstStyle/>
              <a:p>
                <a:pPr lvl="0" algn="r"/>
                <a:r>
                  <a:rPr lang="en-US" altLang="zh-CN" sz="1800" b="1" dirty="0">
                    <a:solidFill>
                      <a:schemeClr val="bg1"/>
                    </a:solidFill>
                    <a:cs typeface="+mn-ea"/>
                    <a:sym typeface="+mn-lt"/>
                  </a:rPr>
                  <a:t>Add title</a:t>
                </a:r>
                <a:endParaRPr lang="zh-CN" altLang="en-US" sz="18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</p:grpSp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400" tmFilter="0,0; .5, 1; 1, 1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31"/>
          <p:cNvSpPr txBox="1"/>
          <p:nvPr/>
        </p:nvSpPr>
        <p:spPr>
          <a:xfrm>
            <a:off x="1967706" y="171714"/>
            <a:ext cx="5208588" cy="52322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defPPr>
              <a:defRPr lang="zh-CN"/>
            </a:defPPr>
            <a:lvl1pPr lvl="0">
              <a:defRPr sz="3600" b="1">
                <a:solidFill>
                  <a:schemeClr val="accent2"/>
                </a:solidFill>
                <a:cs typeface="+mn-ea"/>
              </a:defRPr>
            </a:lvl1pPr>
          </a:lstStyle>
          <a:p>
            <a:pPr algn="ctr"/>
            <a:r>
              <a:rPr lang="en-US" altLang="zh-CN" sz="2800" dirty="0">
                <a:sym typeface="+mn-lt"/>
              </a:rPr>
              <a:t>Diversified evaluation mechanism</a:t>
            </a:r>
            <a:endParaRPr lang="zh-CN" altLang="en-US" dirty="0">
              <a:sym typeface="+mn-lt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130141" y="1817188"/>
            <a:ext cx="3502879" cy="2817246"/>
            <a:chOff x="577" y="5093"/>
            <a:chExt cx="7081" cy="5695"/>
          </a:xfrm>
        </p:grpSpPr>
        <p:grpSp>
          <p:nvGrpSpPr>
            <p:cNvPr id="3" name="组合 2"/>
            <p:cNvGrpSpPr/>
            <p:nvPr/>
          </p:nvGrpSpPr>
          <p:grpSpPr>
            <a:xfrm>
              <a:off x="577" y="5093"/>
              <a:ext cx="7081" cy="5695"/>
              <a:chOff x="366351" y="3233822"/>
              <a:chExt cx="4496213" cy="3616469"/>
            </a:xfrm>
          </p:grpSpPr>
          <p:sp>
            <p:nvSpPr>
              <p:cNvPr id="69" name="íSḷïdè"/>
              <p:cNvSpPr/>
              <p:nvPr/>
            </p:nvSpPr>
            <p:spPr>
              <a:xfrm>
                <a:off x="3531293" y="5084060"/>
                <a:ext cx="1331271" cy="331612"/>
              </a:xfrm>
              <a:prstGeom prst="roundRect">
                <a:avLst>
                  <a:gd name="adj" fmla="val 36367"/>
                </a:avLst>
              </a:prstGeom>
              <a:solidFill>
                <a:schemeClr val="accent5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Autofit/>
              </a:bodyPr>
              <a:lstStyle/>
              <a:p>
                <a:pPr lvl="0" algn="r" defTabSz="913765">
                  <a:spcBef>
                    <a:spcPct val="0"/>
                  </a:spcBef>
                  <a:defRPr/>
                </a:pPr>
                <a:r>
                  <a:rPr lang="en-US" altLang="zh-CN" sz="1700" dirty="0">
                    <a:solidFill>
                      <a:schemeClr val="bg1"/>
                    </a:solidFill>
                    <a:cs typeface="+mn-ea"/>
                    <a:sym typeface="+mn-lt"/>
                  </a:rPr>
                  <a:t>Add title</a:t>
                </a:r>
                <a:endParaRPr lang="zh-CN" altLang="en-US" sz="1700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71" name="îs1îḍé"/>
              <p:cNvSpPr/>
              <p:nvPr/>
            </p:nvSpPr>
            <p:spPr>
              <a:xfrm>
                <a:off x="366351" y="3325707"/>
                <a:ext cx="1331271" cy="331612"/>
              </a:xfrm>
              <a:prstGeom prst="roundRect">
                <a:avLst>
                  <a:gd name="adj" fmla="val 36367"/>
                </a:avLst>
              </a:prstGeom>
              <a:solidFill>
                <a:srgbClr val="B1B5E1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Autofit/>
              </a:bodyPr>
              <a:lstStyle/>
              <a:p>
                <a:pPr lvl="0" defTabSz="913765">
                  <a:spcBef>
                    <a:spcPct val="0"/>
                  </a:spcBef>
                  <a:defRPr/>
                </a:pPr>
                <a:r>
                  <a:rPr lang="en-US" altLang="zh-CN" sz="1400" dirty="0">
                    <a:solidFill>
                      <a:schemeClr val="bg1"/>
                    </a:solidFill>
                    <a:cs typeface="+mn-ea"/>
                    <a:sym typeface="+mn-lt"/>
                  </a:rPr>
                  <a:t>Add title</a:t>
                </a:r>
                <a:endParaRPr lang="zh-CN" altLang="en-US" sz="1400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74" name="íṣ1îḍê"/>
              <p:cNvGrpSpPr/>
              <p:nvPr/>
            </p:nvGrpSpPr>
            <p:grpSpPr>
              <a:xfrm>
                <a:off x="1504551" y="3233822"/>
                <a:ext cx="1038695" cy="3379438"/>
                <a:chOff x="4656256" y="1008994"/>
                <a:chExt cx="1439744" cy="4684269"/>
              </a:xfrm>
            </p:grpSpPr>
            <p:sp>
              <p:nvSpPr>
                <p:cNvPr id="86" name="î$lîḑe"/>
                <p:cNvSpPr/>
                <p:nvPr/>
              </p:nvSpPr>
              <p:spPr>
                <a:xfrm>
                  <a:off x="4893282" y="1269999"/>
                  <a:ext cx="1202718" cy="4423264"/>
                </a:xfrm>
                <a:custGeom>
                  <a:avLst/>
                  <a:gdLst>
                    <a:gd name="connsiteX0" fmla="*/ 0 w 1202718"/>
                    <a:gd name="connsiteY0" fmla="*/ 0 h 4423264"/>
                    <a:gd name="connsiteX1" fmla="*/ 759797 w 1202718"/>
                    <a:gd name="connsiteY1" fmla="*/ 0 h 4423264"/>
                    <a:gd name="connsiteX2" fmla="*/ 1202718 w 1202718"/>
                    <a:gd name="connsiteY2" fmla="*/ 420608 h 4423264"/>
                    <a:gd name="connsiteX3" fmla="*/ 1202718 w 1202718"/>
                    <a:gd name="connsiteY3" fmla="*/ 4074834 h 4423264"/>
                    <a:gd name="connsiteX4" fmla="*/ 1072990 w 1202718"/>
                    <a:gd name="connsiteY4" fmla="*/ 4372250 h 4423264"/>
                    <a:gd name="connsiteX5" fmla="*/ 1007880 w 1202718"/>
                    <a:gd name="connsiteY5" fmla="*/ 4423264 h 4423264"/>
                    <a:gd name="connsiteX6" fmla="*/ 1012220 w 1202718"/>
                    <a:gd name="connsiteY6" fmla="*/ 4382377 h 4423264"/>
                    <a:gd name="connsiteX7" fmla="*/ 1012220 w 1202718"/>
                    <a:gd name="connsiteY7" fmla="*/ 483917 h 4423264"/>
                    <a:gd name="connsiteX8" fmla="*/ 697894 w 1202718"/>
                    <a:gd name="connsiteY8" fmla="*/ 185426 h 4423264"/>
                    <a:gd name="connsiteX9" fmla="*/ 0 w 1202718"/>
                    <a:gd name="connsiteY9" fmla="*/ 185426 h 4423264"/>
                    <a:gd name="connsiteX10" fmla="*/ 0 w 1202718"/>
                    <a:gd name="connsiteY10" fmla="*/ 0 h 44232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02718" h="4423264">
                      <a:moveTo>
                        <a:pt x="0" y="0"/>
                      </a:moveTo>
                      <a:lnTo>
                        <a:pt x="759797" y="0"/>
                      </a:lnTo>
                      <a:cubicBezTo>
                        <a:pt x="1004416" y="0"/>
                        <a:pt x="1202718" y="188312"/>
                        <a:pt x="1202718" y="420608"/>
                      </a:cubicBezTo>
                      <a:lnTo>
                        <a:pt x="1202718" y="4074834"/>
                      </a:lnTo>
                      <a:cubicBezTo>
                        <a:pt x="1202718" y="4190983"/>
                        <a:pt x="1153143" y="4296134"/>
                        <a:pt x="1072990" y="4372250"/>
                      </a:cubicBezTo>
                      <a:lnTo>
                        <a:pt x="1007880" y="4423264"/>
                      </a:lnTo>
                      <a:lnTo>
                        <a:pt x="1012220" y="4382377"/>
                      </a:lnTo>
                      <a:lnTo>
                        <a:pt x="1012220" y="483917"/>
                      </a:lnTo>
                      <a:cubicBezTo>
                        <a:pt x="1012220" y="319066"/>
                        <a:pt x="871491" y="185426"/>
                        <a:pt x="697894" y="185426"/>
                      </a:cubicBezTo>
                      <a:lnTo>
                        <a:pt x="0" y="18542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B1B5E1"/>
                </a:solidFill>
                <a:ln w="762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87" name="ïṩ1îḍê"/>
                <p:cNvSpPr/>
                <p:nvPr/>
              </p:nvSpPr>
              <p:spPr>
                <a:xfrm>
                  <a:off x="4656256" y="1008994"/>
                  <a:ext cx="714375" cy="714375"/>
                </a:xfrm>
                <a:prstGeom prst="ellipse">
                  <a:avLst/>
                </a:prstGeom>
                <a:solidFill>
                  <a:srgbClr val="B1B5E1"/>
                </a:solidFill>
                <a:ln w="762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76" name="îṩ1iḓè"/>
              <p:cNvGrpSpPr/>
              <p:nvPr/>
            </p:nvGrpSpPr>
            <p:grpSpPr>
              <a:xfrm>
                <a:off x="2543246" y="4992991"/>
                <a:ext cx="987946" cy="1857300"/>
                <a:chOff x="6096000" y="3447394"/>
                <a:chExt cx="1369401" cy="2574420"/>
              </a:xfrm>
            </p:grpSpPr>
            <p:sp>
              <p:nvSpPr>
                <p:cNvPr id="82" name="î$1iḍé"/>
                <p:cNvSpPr/>
                <p:nvPr/>
              </p:nvSpPr>
              <p:spPr>
                <a:xfrm>
                  <a:off x="6751026" y="3447394"/>
                  <a:ext cx="714375" cy="714375"/>
                </a:xfrm>
                <a:prstGeom prst="ellipse">
                  <a:avLst/>
                </a:prstGeom>
                <a:solidFill>
                  <a:schemeClr val="accent5"/>
                </a:solidFill>
                <a:ln w="762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83" name="îşḷiďê"/>
                <p:cNvSpPr/>
                <p:nvPr/>
              </p:nvSpPr>
              <p:spPr>
                <a:xfrm>
                  <a:off x="6096000" y="3711085"/>
                  <a:ext cx="1202713" cy="2310729"/>
                </a:xfrm>
                <a:custGeom>
                  <a:avLst/>
                  <a:gdLst>
                    <a:gd name="connsiteX0" fmla="*/ 442921 w 1202714"/>
                    <a:gd name="connsiteY0" fmla="*/ 0 h 3146915"/>
                    <a:gd name="connsiteX1" fmla="*/ 1202714 w 1202714"/>
                    <a:gd name="connsiteY1" fmla="*/ 0 h 3146915"/>
                    <a:gd name="connsiteX2" fmla="*/ 1202714 w 1202714"/>
                    <a:gd name="connsiteY2" fmla="*/ 185426 h 3146915"/>
                    <a:gd name="connsiteX3" fmla="*/ 504824 w 1202714"/>
                    <a:gd name="connsiteY3" fmla="*/ 185426 h 3146915"/>
                    <a:gd name="connsiteX4" fmla="*/ 190498 w 1202714"/>
                    <a:gd name="connsiteY4" fmla="*/ 483917 h 3146915"/>
                    <a:gd name="connsiteX5" fmla="*/ 190498 w 1202714"/>
                    <a:gd name="connsiteY5" fmla="*/ 2321415 h 3146915"/>
                    <a:gd name="connsiteX6" fmla="*/ 190500 w 1202714"/>
                    <a:gd name="connsiteY6" fmla="*/ 2321415 h 3146915"/>
                    <a:gd name="connsiteX7" fmla="*/ 190500 w 1202714"/>
                    <a:gd name="connsiteY7" fmla="*/ 3146915 h 3146915"/>
                    <a:gd name="connsiteX8" fmla="*/ 0 w 1202714"/>
                    <a:gd name="connsiteY8" fmla="*/ 3146915 h 3146915"/>
                    <a:gd name="connsiteX9" fmla="*/ 0 w 1202714"/>
                    <a:gd name="connsiteY9" fmla="*/ 2651614 h 3146915"/>
                    <a:gd name="connsiteX10" fmla="*/ 0 w 1202714"/>
                    <a:gd name="connsiteY10" fmla="*/ 2321415 h 3146915"/>
                    <a:gd name="connsiteX11" fmla="*/ 0 w 1202714"/>
                    <a:gd name="connsiteY11" fmla="*/ 420608 h 3146915"/>
                    <a:gd name="connsiteX12" fmla="*/ 442921 w 1202714"/>
                    <a:gd name="connsiteY12" fmla="*/ 0 h 31469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202714" h="3146915">
                      <a:moveTo>
                        <a:pt x="442921" y="0"/>
                      </a:moveTo>
                      <a:lnTo>
                        <a:pt x="1202714" y="0"/>
                      </a:lnTo>
                      <a:lnTo>
                        <a:pt x="1202714" y="185426"/>
                      </a:lnTo>
                      <a:lnTo>
                        <a:pt x="504824" y="185426"/>
                      </a:lnTo>
                      <a:cubicBezTo>
                        <a:pt x="331227" y="185426"/>
                        <a:pt x="190498" y="319066"/>
                        <a:pt x="190498" y="483917"/>
                      </a:cubicBezTo>
                      <a:lnTo>
                        <a:pt x="190498" y="2321415"/>
                      </a:lnTo>
                      <a:lnTo>
                        <a:pt x="190500" y="2321415"/>
                      </a:lnTo>
                      <a:lnTo>
                        <a:pt x="190500" y="3146915"/>
                      </a:lnTo>
                      <a:lnTo>
                        <a:pt x="0" y="3146915"/>
                      </a:lnTo>
                      <a:lnTo>
                        <a:pt x="0" y="2651614"/>
                      </a:lnTo>
                      <a:lnTo>
                        <a:pt x="0" y="2321415"/>
                      </a:lnTo>
                      <a:lnTo>
                        <a:pt x="0" y="420608"/>
                      </a:lnTo>
                      <a:cubicBezTo>
                        <a:pt x="0" y="188312"/>
                        <a:pt x="198302" y="0"/>
                        <a:pt x="442921" y="0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762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78" name="íslide"/>
              <p:cNvSpPr/>
              <p:nvPr/>
            </p:nvSpPr>
            <p:spPr bwMode="auto">
              <a:xfrm>
                <a:off x="1603084" y="3366053"/>
                <a:ext cx="308873" cy="253867"/>
              </a:xfrm>
              <a:custGeom>
                <a:avLst/>
                <a:gdLst>
                  <a:gd name="T0" fmla="*/ 285 w 293"/>
                  <a:gd name="T1" fmla="*/ 32 h 238"/>
                  <a:gd name="T2" fmla="*/ 259 w 293"/>
                  <a:gd name="T3" fmla="*/ 38 h 238"/>
                  <a:gd name="T4" fmla="*/ 275 w 293"/>
                  <a:gd name="T5" fmla="*/ 24 h 238"/>
                  <a:gd name="T6" fmla="*/ 285 w 293"/>
                  <a:gd name="T7" fmla="*/ 4 h 238"/>
                  <a:gd name="T8" fmla="*/ 257 w 293"/>
                  <a:gd name="T9" fmla="*/ 16 h 238"/>
                  <a:gd name="T10" fmla="*/ 237 w 293"/>
                  <a:gd name="T11" fmla="*/ 11 h 238"/>
                  <a:gd name="T12" fmla="*/ 216 w 293"/>
                  <a:gd name="T13" fmla="*/ 1 h 238"/>
                  <a:gd name="T14" fmla="*/ 203 w 293"/>
                  <a:gd name="T15" fmla="*/ 0 h 238"/>
                  <a:gd name="T16" fmla="*/ 179 w 293"/>
                  <a:gd name="T17" fmla="*/ 5 h 238"/>
                  <a:gd name="T18" fmla="*/ 154 w 293"/>
                  <a:gd name="T19" fmla="*/ 27 h 238"/>
                  <a:gd name="T20" fmla="*/ 143 w 293"/>
                  <a:gd name="T21" fmla="*/ 54 h 238"/>
                  <a:gd name="T22" fmla="*/ 143 w 293"/>
                  <a:gd name="T23" fmla="*/ 67 h 238"/>
                  <a:gd name="T24" fmla="*/ 126 w 293"/>
                  <a:gd name="T25" fmla="*/ 72 h 238"/>
                  <a:gd name="T26" fmla="*/ 75 w 293"/>
                  <a:gd name="T27" fmla="*/ 55 h 238"/>
                  <a:gd name="T28" fmla="*/ 33 w 293"/>
                  <a:gd name="T29" fmla="*/ 24 h 238"/>
                  <a:gd name="T30" fmla="*/ 17 w 293"/>
                  <a:gd name="T31" fmla="*/ 17 h 238"/>
                  <a:gd name="T32" fmla="*/ 12 w 293"/>
                  <a:gd name="T33" fmla="*/ 41 h 238"/>
                  <a:gd name="T34" fmla="*/ 14 w 293"/>
                  <a:gd name="T35" fmla="*/ 57 h 238"/>
                  <a:gd name="T36" fmla="*/ 23 w 293"/>
                  <a:gd name="T37" fmla="*/ 76 h 238"/>
                  <a:gd name="T38" fmla="*/ 39 w 293"/>
                  <a:gd name="T39" fmla="*/ 91 h 238"/>
                  <a:gd name="T40" fmla="*/ 25 w 293"/>
                  <a:gd name="T41" fmla="*/ 89 h 238"/>
                  <a:gd name="T42" fmla="*/ 12 w 293"/>
                  <a:gd name="T43" fmla="*/ 84 h 238"/>
                  <a:gd name="T44" fmla="*/ 13 w 293"/>
                  <a:gd name="T45" fmla="*/ 95 h 238"/>
                  <a:gd name="T46" fmla="*/ 25 w 293"/>
                  <a:gd name="T47" fmla="*/ 123 h 238"/>
                  <a:gd name="T48" fmla="*/ 50 w 293"/>
                  <a:gd name="T49" fmla="*/ 140 h 238"/>
                  <a:gd name="T50" fmla="*/ 52 w 293"/>
                  <a:gd name="T51" fmla="*/ 145 h 238"/>
                  <a:gd name="T52" fmla="*/ 33 w 293"/>
                  <a:gd name="T53" fmla="*/ 145 h 238"/>
                  <a:gd name="T54" fmla="*/ 41 w 293"/>
                  <a:gd name="T55" fmla="*/ 161 h 238"/>
                  <a:gd name="T56" fmla="*/ 62 w 293"/>
                  <a:gd name="T57" fmla="*/ 179 h 238"/>
                  <a:gd name="T58" fmla="*/ 89 w 293"/>
                  <a:gd name="T59" fmla="*/ 186 h 238"/>
                  <a:gd name="T60" fmla="*/ 73 w 293"/>
                  <a:gd name="T61" fmla="*/ 197 h 238"/>
                  <a:gd name="T62" fmla="*/ 45 w 293"/>
                  <a:gd name="T63" fmla="*/ 208 h 238"/>
                  <a:gd name="T64" fmla="*/ 14 w 293"/>
                  <a:gd name="T65" fmla="*/ 212 h 238"/>
                  <a:gd name="T66" fmla="*/ 0 w 293"/>
                  <a:gd name="T67" fmla="*/ 211 h 238"/>
                  <a:gd name="T68" fmla="*/ 32 w 293"/>
                  <a:gd name="T69" fmla="*/ 227 h 238"/>
                  <a:gd name="T70" fmla="*/ 68 w 293"/>
                  <a:gd name="T71" fmla="*/ 237 h 238"/>
                  <a:gd name="T72" fmla="*/ 93 w 293"/>
                  <a:gd name="T73" fmla="*/ 238 h 238"/>
                  <a:gd name="T74" fmla="*/ 149 w 293"/>
                  <a:gd name="T75" fmla="*/ 229 h 238"/>
                  <a:gd name="T76" fmla="*/ 195 w 293"/>
                  <a:gd name="T77" fmla="*/ 205 h 238"/>
                  <a:gd name="T78" fmla="*/ 229 w 293"/>
                  <a:gd name="T79" fmla="*/ 169 h 238"/>
                  <a:gd name="T80" fmla="*/ 252 w 293"/>
                  <a:gd name="T81" fmla="*/ 127 h 238"/>
                  <a:gd name="T82" fmla="*/ 262 w 293"/>
                  <a:gd name="T83" fmla="*/ 82 h 238"/>
                  <a:gd name="T84" fmla="*/ 263 w 293"/>
                  <a:gd name="T85" fmla="*/ 59 h 238"/>
                  <a:gd name="T86" fmla="*/ 280 w 293"/>
                  <a:gd name="T87" fmla="*/ 45 h 238"/>
                  <a:gd name="T88" fmla="*/ 293 w 293"/>
                  <a:gd name="T89" fmla="*/ 2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93" h="238">
                    <a:moveTo>
                      <a:pt x="293" y="28"/>
                    </a:moveTo>
                    <a:lnTo>
                      <a:pt x="293" y="28"/>
                    </a:lnTo>
                    <a:lnTo>
                      <a:pt x="285" y="32"/>
                    </a:lnTo>
                    <a:lnTo>
                      <a:pt x="277" y="34"/>
                    </a:lnTo>
                    <a:lnTo>
                      <a:pt x="267" y="36"/>
                    </a:lnTo>
                    <a:lnTo>
                      <a:pt x="259" y="38"/>
                    </a:lnTo>
                    <a:lnTo>
                      <a:pt x="259" y="38"/>
                    </a:lnTo>
                    <a:lnTo>
                      <a:pt x="267" y="31"/>
                    </a:lnTo>
                    <a:lnTo>
                      <a:pt x="275" y="24"/>
                    </a:lnTo>
                    <a:lnTo>
                      <a:pt x="281" y="14"/>
                    </a:lnTo>
                    <a:lnTo>
                      <a:pt x="285" y="4"/>
                    </a:lnTo>
                    <a:lnTo>
                      <a:pt x="285" y="4"/>
                    </a:lnTo>
                    <a:lnTo>
                      <a:pt x="277" y="9"/>
                    </a:lnTo>
                    <a:lnTo>
                      <a:pt x="266" y="13"/>
                    </a:lnTo>
                    <a:lnTo>
                      <a:pt x="257" y="16"/>
                    </a:lnTo>
                    <a:lnTo>
                      <a:pt x="247" y="18"/>
                    </a:lnTo>
                    <a:lnTo>
                      <a:pt x="247" y="18"/>
                    </a:lnTo>
                    <a:lnTo>
                      <a:pt x="237" y="11"/>
                    </a:lnTo>
                    <a:lnTo>
                      <a:pt x="227" y="5"/>
                    </a:lnTo>
                    <a:lnTo>
                      <a:pt x="222" y="3"/>
                    </a:lnTo>
                    <a:lnTo>
                      <a:pt x="216" y="1"/>
                    </a:lnTo>
                    <a:lnTo>
                      <a:pt x="209" y="0"/>
                    </a:lnTo>
                    <a:lnTo>
                      <a:pt x="203" y="0"/>
                    </a:lnTo>
                    <a:lnTo>
                      <a:pt x="203" y="0"/>
                    </a:lnTo>
                    <a:lnTo>
                      <a:pt x="197" y="0"/>
                    </a:lnTo>
                    <a:lnTo>
                      <a:pt x="191" y="1"/>
                    </a:lnTo>
                    <a:lnTo>
                      <a:pt x="179" y="5"/>
                    </a:lnTo>
                    <a:lnTo>
                      <a:pt x="169" y="10"/>
                    </a:lnTo>
                    <a:lnTo>
                      <a:pt x="161" y="17"/>
                    </a:lnTo>
                    <a:lnTo>
                      <a:pt x="154" y="27"/>
                    </a:lnTo>
                    <a:lnTo>
                      <a:pt x="147" y="37"/>
                    </a:lnTo>
                    <a:lnTo>
                      <a:pt x="144" y="48"/>
                    </a:lnTo>
                    <a:lnTo>
                      <a:pt x="143" y="54"/>
                    </a:lnTo>
                    <a:lnTo>
                      <a:pt x="143" y="60"/>
                    </a:lnTo>
                    <a:lnTo>
                      <a:pt x="143" y="60"/>
                    </a:lnTo>
                    <a:lnTo>
                      <a:pt x="143" y="67"/>
                    </a:lnTo>
                    <a:lnTo>
                      <a:pt x="144" y="74"/>
                    </a:lnTo>
                    <a:lnTo>
                      <a:pt x="144" y="74"/>
                    </a:lnTo>
                    <a:lnTo>
                      <a:pt x="126" y="72"/>
                    </a:lnTo>
                    <a:lnTo>
                      <a:pt x="108" y="68"/>
                    </a:lnTo>
                    <a:lnTo>
                      <a:pt x="92" y="63"/>
                    </a:lnTo>
                    <a:lnTo>
                      <a:pt x="75" y="55"/>
                    </a:lnTo>
                    <a:lnTo>
                      <a:pt x="59" y="46"/>
                    </a:lnTo>
                    <a:lnTo>
                      <a:pt x="45" y="36"/>
                    </a:lnTo>
                    <a:lnTo>
                      <a:pt x="33" y="24"/>
                    </a:lnTo>
                    <a:lnTo>
                      <a:pt x="20" y="11"/>
                    </a:lnTo>
                    <a:lnTo>
                      <a:pt x="20" y="11"/>
                    </a:lnTo>
                    <a:lnTo>
                      <a:pt x="17" y="17"/>
                    </a:lnTo>
                    <a:lnTo>
                      <a:pt x="15" y="26"/>
                    </a:lnTo>
                    <a:lnTo>
                      <a:pt x="13" y="33"/>
                    </a:lnTo>
                    <a:lnTo>
                      <a:pt x="12" y="41"/>
                    </a:lnTo>
                    <a:lnTo>
                      <a:pt x="12" y="41"/>
                    </a:lnTo>
                    <a:lnTo>
                      <a:pt x="13" y="48"/>
                    </a:lnTo>
                    <a:lnTo>
                      <a:pt x="14" y="57"/>
                    </a:lnTo>
                    <a:lnTo>
                      <a:pt x="17" y="63"/>
                    </a:lnTo>
                    <a:lnTo>
                      <a:pt x="20" y="70"/>
                    </a:lnTo>
                    <a:lnTo>
                      <a:pt x="23" y="76"/>
                    </a:lnTo>
                    <a:lnTo>
                      <a:pt x="28" y="81"/>
                    </a:lnTo>
                    <a:lnTo>
                      <a:pt x="34" y="87"/>
                    </a:lnTo>
                    <a:lnTo>
                      <a:pt x="39" y="91"/>
                    </a:lnTo>
                    <a:lnTo>
                      <a:pt x="39" y="91"/>
                    </a:lnTo>
                    <a:lnTo>
                      <a:pt x="32" y="91"/>
                    </a:lnTo>
                    <a:lnTo>
                      <a:pt x="25" y="89"/>
                    </a:lnTo>
                    <a:lnTo>
                      <a:pt x="18" y="87"/>
                    </a:lnTo>
                    <a:lnTo>
                      <a:pt x="12" y="84"/>
                    </a:lnTo>
                    <a:lnTo>
                      <a:pt x="12" y="84"/>
                    </a:lnTo>
                    <a:lnTo>
                      <a:pt x="12" y="85"/>
                    </a:lnTo>
                    <a:lnTo>
                      <a:pt x="12" y="85"/>
                    </a:lnTo>
                    <a:lnTo>
                      <a:pt x="13" y="95"/>
                    </a:lnTo>
                    <a:lnTo>
                      <a:pt x="16" y="105"/>
                    </a:lnTo>
                    <a:lnTo>
                      <a:pt x="20" y="115"/>
                    </a:lnTo>
                    <a:lnTo>
                      <a:pt x="25" y="123"/>
                    </a:lnTo>
                    <a:lnTo>
                      <a:pt x="33" y="130"/>
                    </a:lnTo>
                    <a:lnTo>
                      <a:pt x="41" y="136"/>
                    </a:lnTo>
                    <a:lnTo>
                      <a:pt x="50" y="140"/>
                    </a:lnTo>
                    <a:lnTo>
                      <a:pt x="60" y="143"/>
                    </a:lnTo>
                    <a:lnTo>
                      <a:pt x="60" y="143"/>
                    </a:lnTo>
                    <a:lnTo>
                      <a:pt x="52" y="145"/>
                    </a:lnTo>
                    <a:lnTo>
                      <a:pt x="44" y="146"/>
                    </a:lnTo>
                    <a:lnTo>
                      <a:pt x="44" y="146"/>
                    </a:lnTo>
                    <a:lnTo>
                      <a:pt x="33" y="145"/>
                    </a:lnTo>
                    <a:lnTo>
                      <a:pt x="33" y="145"/>
                    </a:lnTo>
                    <a:lnTo>
                      <a:pt x="37" y="153"/>
                    </a:lnTo>
                    <a:lnTo>
                      <a:pt x="41" y="161"/>
                    </a:lnTo>
                    <a:lnTo>
                      <a:pt x="47" y="168"/>
                    </a:lnTo>
                    <a:lnTo>
                      <a:pt x="54" y="175"/>
                    </a:lnTo>
                    <a:lnTo>
                      <a:pt x="62" y="179"/>
                    </a:lnTo>
                    <a:lnTo>
                      <a:pt x="71" y="183"/>
                    </a:lnTo>
                    <a:lnTo>
                      <a:pt x="79" y="185"/>
                    </a:lnTo>
                    <a:lnTo>
                      <a:pt x="89" y="186"/>
                    </a:lnTo>
                    <a:lnTo>
                      <a:pt x="89" y="186"/>
                    </a:lnTo>
                    <a:lnTo>
                      <a:pt x="81" y="192"/>
                    </a:lnTo>
                    <a:lnTo>
                      <a:pt x="73" y="197"/>
                    </a:lnTo>
                    <a:lnTo>
                      <a:pt x="64" y="201"/>
                    </a:lnTo>
                    <a:lnTo>
                      <a:pt x="54" y="206"/>
                    </a:lnTo>
                    <a:lnTo>
                      <a:pt x="45" y="208"/>
                    </a:lnTo>
                    <a:lnTo>
                      <a:pt x="35" y="210"/>
                    </a:lnTo>
                    <a:lnTo>
                      <a:pt x="25" y="212"/>
                    </a:lnTo>
                    <a:lnTo>
                      <a:pt x="14" y="212"/>
                    </a:lnTo>
                    <a:lnTo>
                      <a:pt x="14" y="212"/>
                    </a:lnTo>
                    <a:lnTo>
                      <a:pt x="0" y="211"/>
                    </a:lnTo>
                    <a:lnTo>
                      <a:pt x="0" y="211"/>
                    </a:lnTo>
                    <a:lnTo>
                      <a:pt x="10" y="217"/>
                    </a:lnTo>
                    <a:lnTo>
                      <a:pt x="21" y="222"/>
                    </a:lnTo>
                    <a:lnTo>
                      <a:pt x="32" y="227"/>
                    </a:lnTo>
                    <a:lnTo>
                      <a:pt x="44" y="231"/>
                    </a:lnTo>
                    <a:lnTo>
                      <a:pt x="55" y="235"/>
                    </a:lnTo>
                    <a:lnTo>
                      <a:pt x="68" y="237"/>
                    </a:lnTo>
                    <a:lnTo>
                      <a:pt x="80" y="238"/>
                    </a:lnTo>
                    <a:lnTo>
                      <a:pt x="93" y="238"/>
                    </a:lnTo>
                    <a:lnTo>
                      <a:pt x="93" y="238"/>
                    </a:lnTo>
                    <a:lnTo>
                      <a:pt x="112" y="237"/>
                    </a:lnTo>
                    <a:lnTo>
                      <a:pt x="132" y="233"/>
                    </a:lnTo>
                    <a:lnTo>
                      <a:pt x="149" y="229"/>
                    </a:lnTo>
                    <a:lnTo>
                      <a:pt x="166" y="222"/>
                    </a:lnTo>
                    <a:lnTo>
                      <a:pt x="180" y="215"/>
                    </a:lnTo>
                    <a:lnTo>
                      <a:pt x="195" y="205"/>
                    </a:lnTo>
                    <a:lnTo>
                      <a:pt x="207" y="194"/>
                    </a:lnTo>
                    <a:lnTo>
                      <a:pt x="220" y="183"/>
                    </a:lnTo>
                    <a:lnTo>
                      <a:pt x="229" y="169"/>
                    </a:lnTo>
                    <a:lnTo>
                      <a:pt x="238" y="156"/>
                    </a:lnTo>
                    <a:lnTo>
                      <a:pt x="246" y="141"/>
                    </a:lnTo>
                    <a:lnTo>
                      <a:pt x="252" y="127"/>
                    </a:lnTo>
                    <a:lnTo>
                      <a:pt x="257" y="112"/>
                    </a:lnTo>
                    <a:lnTo>
                      <a:pt x="260" y="97"/>
                    </a:lnTo>
                    <a:lnTo>
                      <a:pt x="262" y="82"/>
                    </a:lnTo>
                    <a:lnTo>
                      <a:pt x="263" y="67"/>
                    </a:lnTo>
                    <a:lnTo>
                      <a:pt x="263" y="67"/>
                    </a:lnTo>
                    <a:lnTo>
                      <a:pt x="263" y="59"/>
                    </a:lnTo>
                    <a:lnTo>
                      <a:pt x="263" y="59"/>
                    </a:lnTo>
                    <a:lnTo>
                      <a:pt x="271" y="52"/>
                    </a:lnTo>
                    <a:lnTo>
                      <a:pt x="280" y="45"/>
                    </a:lnTo>
                    <a:lnTo>
                      <a:pt x="287" y="37"/>
                    </a:lnTo>
                    <a:lnTo>
                      <a:pt x="293" y="28"/>
                    </a:lnTo>
                    <a:lnTo>
                      <a:pt x="293" y="2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1" name="îśľíḑè"/>
              <p:cNvSpPr/>
              <p:nvPr/>
            </p:nvSpPr>
            <p:spPr bwMode="auto">
              <a:xfrm>
                <a:off x="3182928" y="5098957"/>
                <a:ext cx="176589" cy="317860"/>
              </a:xfrm>
              <a:custGeom>
                <a:avLst/>
                <a:gdLst>
                  <a:gd name="T0" fmla="*/ 159 w 159"/>
                  <a:gd name="T1" fmla="*/ 50 h 286"/>
                  <a:gd name="T2" fmla="*/ 114 w 159"/>
                  <a:gd name="T3" fmla="*/ 50 h 286"/>
                  <a:gd name="T4" fmla="*/ 114 w 159"/>
                  <a:gd name="T5" fmla="*/ 50 h 286"/>
                  <a:gd name="T6" fmla="*/ 111 w 159"/>
                  <a:gd name="T7" fmla="*/ 51 h 286"/>
                  <a:gd name="T8" fmla="*/ 107 w 159"/>
                  <a:gd name="T9" fmla="*/ 54 h 286"/>
                  <a:gd name="T10" fmla="*/ 103 w 159"/>
                  <a:gd name="T11" fmla="*/ 60 h 286"/>
                  <a:gd name="T12" fmla="*/ 102 w 159"/>
                  <a:gd name="T13" fmla="*/ 66 h 286"/>
                  <a:gd name="T14" fmla="*/ 102 w 159"/>
                  <a:gd name="T15" fmla="*/ 99 h 286"/>
                  <a:gd name="T16" fmla="*/ 159 w 159"/>
                  <a:gd name="T17" fmla="*/ 99 h 286"/>
                  <a:gd name="T18" fmla="*/ 159 w 159"/>
                  <a:gd name="T19" fmla="*/ 146 h 286"/>
                  <a:gd name="T20" fmla="*/ 102 w 159"/>
                  <a:gd name="T21" fmla="*/ 146 h 286"/>
                  <a:gd name="T22" fmla="*/ 102 w 159"/>
                  <a:gd name="T23" fmla="*/ 286 h 286"/>
                  <a:gd name="T24" fmla="*/ 50 w 159"/>
                  <a:gd name="T25" fmla="*/ 286 h 286"/>
                  <a:gd name="T26" fmla="*/ 50 w 159"/>
                  <a:gd name="T27" fmla="*/ 146 h 286"/>
                  <a:gd name="T28" fmla="*/ 0 w 159"/>
                  <a:gd name="T29" fmla="*/ 146 h 286"/>
                  <a:gd name="T30" fmla="*/ 0 w 159"/>
                  <a:gd name="T31" fmla="*/ 99 h 286"/>
                  <a:gd name="T32" fmla="*/ 50 w 159"/>
                  <a:gd name="T33" fmla="*/ 99 h 286"/>
                  <a:gd name="T34" fmla="*/ 50 w 159"/>
                  <a:gd name="T35" fmla="*/ 71 h 286"/>
                  <a:gd name="T36" fmla="*/ 50 w 159"/>
                  <a:gd name="T37" fmla="*/ 71 h 286"/>
                  <a:gd name="T38" fmla="*/ 50 w 159"/>
                  <a:gd name="T39" fmla="*/ 64 h 286"/>
                  <a:gd name="T40" fmla="*/ 51 w 159"/>
                  <a:gd name="T41" fmla="*/ 57 h 286"/>
                  <a:gd name="T42" fmla="*/ 52 w 159"/>
                  <a:gd name="T43" fmla="*/ 50 h 286"/>
                  <a:gd name="T44" fmla="*/ 54 w 159"/>
                  <a:gd name="T45" fmla="*/ 43 h 286"/>
                  <a:gd name="T46" fmla="*/ 57 w 159"/>
                  <a:gd name="T47" fmla="*/ 37 h 286"/>
                  <a:gd name="T48" fmla="*/ 60 w 159"/>
                  <a:gd name="T49" fmla="*/ 31 h 286"/>
                  <a:gd name="T50" fmla="*/ 63 w 159"/>
                  <a:gd name="T51" fmla="*/ 26 h 286"/>
                  <a:gd name="T52" fmla="*/ 67 w 159"/>
                  <a:gd name="T53" fmla="*/ 21 h 286"/>
                  <a:gd name="T54" fmla="*/ 72 w 159"/>
                  <a:gd name="T55" fmla="*/ 16 h 286"/>
                  <a:gd name="T56" fmla="*/ 78 w 159"/>
                  <a:gd name="T57" fmla="*/ 12 h 286"/>
                  <a:gd name="T58" fmla="*/ 83 w 159"/>
                  <a:gd name="T59" fmla="*/ 8 h 286"/>
                  <a:gd name="T60" fmla="*/ 88 w 159"/>
                  <a:gd name="T61" fmla="*/ 5 h 286"/>
                  <a:gd name="T62" fmla="*/ 94 w 159"/>
                  <a:gd name="T63" fmla="*/ 3 h 286"/>
                  <a:gd name="T64" fmla="*/ 100 w 159"/>
                  <a:gd name="T65" fmla="*/ 1 h 286"/>
                  <a:gd name="T66" fmla="*/ 108 w 159"/>
                  <a:gd name="T67" fmla="*/ 0 h 286"/>
                  <a:gd name="T68" fmla="*/ 114 w 159"/>
                  <a:gd name="T69" fmla="*/ 0 h 286"/>
                  <a:gd name="T70" fmla="*/ 159 w 159"/>
                  <a:gd name="T71" fmla="*/ 0 h 286"/>
                  <a:gd name="T72" fmla="*/ 159 w 159"/>
                  <a:gd name="T73" fmla="*/ 5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9" h="286">
                    <a:moveTo>
                      <a:pt x="159" y="50"/>
                    </a:moveTo>
                    <a:lnTo>
                      <a:pt x="114" y="50"/>
                    </a:lnTo>
                    <a:lnTo>
                      <a:pt x="114" y="50"/>
                    </a:lnTo>
                    <a:lnTo>
                      <a:pt x="111" y="51"/>
                    </a:lnTo>
                    <a:lnTo>
                      <a:pt x="107" y="54"/>
                    </a:lnTo>
                    <a:lnTo>
                      <a:pt x="103" y="60"/>
                    </a:lnTo>
                    <a:lnTo>
                      <a:pt x="102" y="66"/>
                    </a:lnTo>
                    <a:lnTo>
                      <a:pt x="102" y="99"/>
                    </a:lnTo>
                    <a:lnTo>
                      <a:pt x="159" y="99"/>
                    </a:lnTo>
                    <a:lnTo>
                      <a:pt x="159" y="146"/>
                    </a:lnTo>
                    <a:lnTo>
                      <a:pt x="102" y="146"/>
                    </a:lnTo>
                    <a:lnTo>
                      <a:pt x="102" y="286"/>
                    </a:lnTo>
                    <a:lnTo>
                      <a:pt x="50" y="286"/>
                    </a:lnTo>
                    <a:lnTo>
                      <a:pt x="50" y="146"/>
                    </a:lnTo>
                    <a:lnTo>
                      <a:pt x="0" y="146"/>
                    </a:lnTo>
                    <a:lnTo>
                      <a:pt x="0" y="99"/>
                    </a:lnTo>
                    <a:lnTo>
                      <a:pt x="50" y="99"/>
                    </a:lnTo>
                    <a:lnTo>
                      <a:pt x="50" y="71"/>
                    </a:lnTo>
                    <a:lnTo>
                      <a:pt x="50" y="71"/>
                    </a:lnTo>
                    <a:lnTo>
                      <a:pt x="50" y="64"/>
                    </a:lnTo>
                    <a:lnTo>
                      <a:pt x="51" y="57"/>
                    </a:lnTo>
                    <a:lnTo>
                      <a:pt x="52" y="50"/>
                    </a:lnTo>
                    <a:lnTo>
                      <a:pt x="54" y="43"/>
                    </a:lnTo>
                    <a:lnTo>
                      <a:pt x="57" y="37"/>
                    </a:lnTo>
                    <a:lnTo>
                      <a:pt x="60" y="31"/>
                    </a:lnTo>
                    <a:lnTo>
                      <a:pt x="63" y="26"/>
                    </a:lnTo>
                    <a:lnTo>
                      <a:pt x="67" y="21"/>
                    </a:lnTo>
                    <a:lnTo>
                      <a:pt x="72" y="16"/>
                    </a:lnTo>
                    <a:lnTo>
                      <a:pt x="78" y="12"/>
                    </a:lnTo>
                    <a:lnTo>
                      <a:pt x="83" y="8"/>
                    </a:lnTo>
                    <a:lnTo>
                      <a:pt x="88" y="5"/>
                    </a:lnTo>
                    <a:lnTo>
                      <a:pt x="94" y="3"/>
                    </a:lnTo>
                    <a:lnTo>
                      <a:pt x="100" y="1"/>
                    </a:lnTo>
                    <a:lnTo>
                      <a:pt x="108" y="0"/>
                    </a:lnTo>
                    <a:lnTo>
                      <a:pt x="114" y="0"/>
                    </a:lnTo>
                    <a:lnTo>
                      <a:pt x="159" y="0"/>
                    </a:lnTo>
                    <a:lnTo>
                      <a:pt x="159" y="5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grpSp>
            <p:nvGrpSpPr>
              <p:cNvPr id="91" name="组合 90"/>
              <p:cNvGrpSpPr/>
              <p:nvPr/>
            </p:nvGrpSpPr>
            <p:grpSpPr>
              <a:xfrm>
                <a:off x="366351" y="4420523"/>
                <a:ext cx="2176894" cy="2429768"/>
                <a:chOff x="7656959" y="4420523"/>
                <a:chExt cx="2176894" cy="2429768"/>
              </a:xfrm>
            </p:grpSpPr>
            <p:sp>
              <p:nvSpPr>
                <p:cNvPr id="70" name="ïṡ1íďé"/>
                <p:cNvSpPr/>
                <p:nvPr/>
              </p:nvSpPr>
              <p:spPr>
                <a:xfrm>
                  <a:off x="7656959" y="4508150"/>
                  <a:ext cx="1331271" cy="331612"/>
                </a:xfrm>
                <a:prstGeom prst="roundRect">
                  <a:avLst>
                    <a:gd name="adj" fmla="val 36367"/>
                  </a:avLst>
                </a:prstGeom>
                <a:solidFill>
                  <a:srgbClr val="B1B5E1"/>
                </a:solidFill>
                <a:ln w="762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none" anchor="ctr">
                  <a:noAutofit/>
                </a:bodyPr>
                <a:lstStyle/>
                <a:p>
                  <a:pPr lvl="0" defTabSz="913765">
                    <a:spcBef>
                      <a:spcPct val="0"/>
                    </a:spcBef>
                    <a:defRPr/>
                  </a:pPr>
                  <a:r>
                    <a:rPr lang="en-US" altLang="zh-CN" sz="1400" dirty="0">
                      <a:solidFill>
                        <a:schemeClr val="bg1"/>
                      </a:solidFill>
                      <a:cs typeface="+mn-ea"/>
                      <a:sym typeface="+mn-lt"/>
                    </a:rPr>
                    <a:t>Add title</a:t>
                  </a:r>
                  <a:endParaRPr lang="zh-CN" altLang="en-US" sz="1400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grpSp>
              <p:nvGrpSpPr>
                <p:cNvPr id="75" name="íṡḷïḑê"/>
                <p:cNvGrpSpPr/>
                <p:nvPr/>
              </p:nvGrpSpPr>
              <p:grpSpPr>
                <a:xfrm>
                  <a:off x="8795159" y="4420523"/>
                  <a:ext cx="1038694" cy="2429768"/>
                  <a:chOff x="4656256" y="2653891"/>
                  <a:chExt cx="1439743" cy="3367924"/>
                </a:xfrm>
              </p:grpSpPr>
              <p:sp>
                <p:nvSpPr>
                  <p:cNvPr id="84" name="ïslïďè"/>
                  <p:cNvSpPr/>
                  <p:nvPr/>
                </p:nvSpPr>
                <p:spPr>
                  <a:xfrm>
                    <a:off x="4893282" y="2933700"/>
                    <a:ext cx="1202717" cy="3088115"/>
                  </a:xfrm>
                  <a:custGeom>
                    <a:avLst/>
                    <a:gdLst>
                      <a:gd name="connsiteX0" fmla="*/ 0 w 1202717"/>
                      <a:gd name="connsiteY0" fmla="*/ 0 h 3429000"/>
                      <a:gd name="connsiteX1" fmla="*/ 759796 w 1202717"/>
                      <a:gd name="connsiteY1" fmla="*/ 0 h 3429000"/>
                      <a:gd name="connsiteX2" fmla="*/ 1202717 w 1202717"/>
                      <a:gd name="connsiteY2" fmla="*/ 442921 h 3429000"/>
                      <a:gd name="connsiteX3" fmla="*/ 1202717 w 1202717"/>
                      <a:gd name="connsiteY3" fmla="*/ 3429000 h 3429000"/>
                      <a:gd name="connsiteX4" fmla="*/ 1012219 w 1202717"/>
                      <a:gd name="connsiteY4" fmla="*/ 3429000 h 3429000"/>
                      <a:gd name="connsiteX5" fmla="*/ 1012219 w 1202717"/>
                      <a:gd name="connsiteY5" fmla="*/ 509589 h 3429000"/>
                      <a:gd name="connsiteX6" fmla="*/ 697893 w 1202717"/>
                      <a:gd name="connsiteY6" fmla="*/ 195263 h 3429000"/>
                      <a:gd name="connsiteX7" fmla="*/ 0 w 1202717"/>
                      <a:gd name="connsiteY7" fmla="*/ 195263 h 3429000"/>
                      <a:gd name="connsiteX8" fmla="*/ 0 w 1202717"/>
                      <a:gd name="connsiteY8" fmla="*/ 0 h 342900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202717" h="3429000">
                        <a:moveTo>
                          <a:pt x="0" y="0"/>
                        </a:moveTo>
                        <a:lnTo>
                          <a:pt x="759796" y="0"/>
                        </a:lnTo>
                        <a:cubicBezTo>
                          <a:pt x="1004415" y="0"/>
                          <a:pt x="1202717" y="198302"/>
                          <a:pt x="1202717" y="442921"/>
                        </a:cubicBezTo>
                        <a:lnTo>
                          <a:pt x="1202717" y="3429000"/>
                        </a:lnTo>
                        <a:lnTo>
                          <a:pt x="1012219" y="3429000"/>
                        </a:lnTo>
                        <a:lnTo>
                          <a:pt x="1012219" y="509589"/>
                        </a:lnTo>
                        <a:cubicBezTo>
                          <a:pt x="1012219" y="335992"/>
                          <a:pt x="871490" y="195263"/>
                          <a:pt x="697893" y="195263"/>
                        </a:cubicBezTo>
                        <a:lnTo>
                          <a:pt x="0" y="19526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B1B5E1"/>
                  </a:solidFill>
                  <a:ln w="7620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>
                      <a:cs typeface="+mn-ea"/>
                      <a:sym typeface="+mn-lt"/>
                    </a:endParaRPr>
                  </a:p>
                </p:txBody>
              </p:sp>
              <p:sp>
                <p:nvSpPr>
                  <p:cNvPr id="85" name="iṩlíďé"/>
                  <p:cNvSpPr/>
                  <p:nvPr/>
                </p:nvSpPr>
                <p:spPr>
                  <a:xfrm>
                    <a:off x="4656256" y="2653891"/>
                    <a:ext cx="714375" cy="714375"/>
                  </a:xfrm>
                  <a:prstGeom prst="ellipse">
                    <a:avLst/>
                  </a:prstGeom>
                  <a:solidFill>
                    <a:srgbClr val="B1B5E1"/>
                  </a:solidFill>
                  <a:ln w="7620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/>
                    <a:endParaRPr>
                      <a:cs typeface="+mn-ea"/>
                      <a:sym typeface="+mn-lt"/>
                    </a:endParaRPr>
                  </a:p>
                </p:txBody>
              </p:sp>
            </p:grpSp>
            <p:sp>
              <p:nvSpPr>
                <p:cNvPr id="80" name="iṧḻîḍé"/>
                <p:cNvSpPr/>
                <p:nvPr/>
              </p:nvSpPr>
              <p:spPr bwMode="auto">
                <a:xfrm>
                  <a:off x="8856885" y="4506691"/>
                  <a:ext cx="371492" cy="343691"/>
                </a:xfrm>
                <a:custGeom>
                  <a:avLst/>
                  <a:gdLst/>
                  <a:ahLst/>
                  <a:cxnLst>
                    <a:cxn ang="0">
                      <a:pos x="39" y="36"/>
                    </a:cxn>
                    <a:cxn ang="0">
                      <a:pos x="41" y="44"/>
                    </a:cxn>
                    <a:cxn ang="0">
                      <a:pos x="35" y="50"/>
                    </a:cxn>
                    <a:cxn ang="0">
                      <a:pos x="27" y="53"/>
                    </a:cxn>
                    <a:cxn ang="0">
                      <a:pos x="18" y="53"/>
                    </a:cxn>
                    <a:cxn ang="0">
                      <a:pos x="11" y="50"/>
                    </a:cxn>
                    <a:cxn ang="0">
                      <a:pos x="4" y="44"/>
                    </a:cxn>
                    <a:cxn ang="0">
                      <a:pos x="6" y="36"/>
                    </a:cxn>
                    <a:cxn ang="0">
                      <a:pos x="0" y="28"/>
                    </a:cxn>
                    <a:cxn ang="0">
                      <a:pos x="7" y="23"/>
                    </a:cxn>
                    <a:cxn ang="0">
                      <a:pos x="4" y="18"/>
                    </a:cxn>
                    <a:cxn ang="0">
                      <a:pos x="15" y="16"/>
                    </a:cxn>
                    <a:cxn ang="0">
                      <a:pos x="19" y="8"/>
                    </a:cxn>
                    <a:cxn ang="0">
                      <a:pos x="28" y="15"/>
                    </a:cxn>
                    <a:cxn ang="0">
                      <a:pos x="35" y="12"/>
                    </a:cxn>
                    <a:cxn ang="0">
                      <a:pos x="41" y="19"/>
                    </a:cxn>
                    <a:cxn ang="0">
                      <a:pos x="45" y="27"/>
                    </a:cxn>
                    <a:cxn ang="0">
                      <a:pos x="23" y="22"/>
                    </a:cxn>
                    <a:cxn ang="0">
                      <a:pos x="32" y="31"/>
                    </a:cxn>
                    <a:cxn ang="0">
                      <a:pos x="63" y="16"/>
                    </a:cxn>
                    <a:cxn ang="0">
                      <a:pos x="64" y="24"/>
                    </a:cxn>
                    <a:cxn ang="0">
                      <a:pos x="55" y="22"/>
                    </a:cxn>
                    <a:cxn ang="0">
                      <a:pos x="46" y="24"/>
                    </a:cxn>
                    <a:cxn ang="0">
                      <a:pos x="46" y="16"/>
                    </a:cxn>
                    <a:cxn ang="0">
                      <a:pos x="46" y="9"/>
                    </a:cxn>
                    <a:cxn ang="0">
                      <a:pos x="46" y="2"/>
                    </a:cxn>
                    <a:cxn ang="0">
                      <a:pos x="55" y="4"/>
                    </a:cxn>
                    <a:cxn ang="0">
                      <a:pos x="59" y="0"/>
                    </a:cxn>
                    <a:cxn ang="0">
                      <a:pos x="62" y="7"/>
                    </a:cxn>
                    <a:cxn ang="0">
                      <a:pos x="68" y="15"/>
                    </a:cxn>
                    <a:cxn ang="0">
                      <a:pos x="62" y="55"/>
                    </a:cxn>
                    <a:cxn ang="0">
                      <a:pos x="59" y="63"/>
                    </a:cxn>
                    <a:cxn ang="0">
                      <a:pos x="54" y="59"/>
                    </a:cxn>
                    <a:cxn ang="0">
                      <a:pos x="45" y="60"/>
                    </a:cxn>
                    <a:cxn ang="0">
                      <a:pos x="41" y="52"/>
                    </a:cxn>
                    <a:cxn ang="0">
                      <a:pos x="47" y="44"/>
                    </a:cxn>
                    <a:cxn ang="0">
                      <a:pos x="50" y="36"/>
                    </a:cxn>
                    <a:cxn ang="0">
                      <a:pos x="56" y="40"/>
                    </a:cxn>
                    <a:cxn ang="0">
                      <a:pos x="64" y="39"/>
                    </a:cxn>
                    <a:cxn ang="0">
                      <a:pos x="63" y="46"/>
                    </a:cxn>
                    <a:cxn ang="0">
                      <a:pos x="55" y="8"/>
                    </a:cxn>
                    <a:cxn ang="0">
                      <a:pos x="59" y="13"/>
                    </a:cxn>
                    <a:cxn ang="0">
                      <a:pos x="50" y="49"/>
                    </a:cxn>
                    <a:cxn ang="0">
                      <a:pos x="55" y="45"/>
                    </a:cxn>
                  </a:cxnLst>
                  <a:rect l="0" t="0" r="r" b="b"/>
                  <a:pathLst>
                    <a:path w="68" h="63">
                      <a:moveTo>
                        <a:pt x="45" y="35"/>
                      </a:moveTo>
                      <a:cubicBezTo>
                        <a:pt x="45" y="35"/>
                        <a:pt x="45" y="36"/>
                        <a:pt x="45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9" y="37"/>
                        <a:pt x="38" y="38"/>
                        <a:pt x="38" y="39"/>
                      </a:cubicBezTo>
                      <a:cubicBezTo>
                        <a:pt x="39" y="41"/>
                        <a:pt x="40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41" y="44"/>
                        <a:pt x="41" y="44"/>
                        <a:pt x="41" y="45"/>
                      </a:cubicBezTo>
                      <a:cubicBezTo>
                        <a:pt x="40" y="46"/>
                        <a:pt x="36" y="50"/>
                        <a:pt x="35" y="50"/>
                      </a:cubicBezTo>
                      <a:cubicBezTo>
                        <a:pt x="35" y="50"/>
                        <a:pt x="35" y="50"/>
                        <a:pt x="35" y="50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cubicBezTo>
                        <a:pt x="30" y="47"/>
                        <a:pt x="29" y="47"/>
                        <a:pt x="28" y="48"/>
                      </a:cubicBezTo>
                      <a:cubicBezTo>
                        <a:pt x="28" y="49"/>
                        <a:pt x="27" y="51"/>
                        <a:pt x="27" y="53"/>
                      </a:cubicBezTo>
                      <a:cubicBezTo>
                        <a:pt x="27" y="54"/>
                        <a:pt x="26" y="54"/>
                        <a:pt x="26" y="54"/>
                      </a:cubicBezTo>
                      <a:cubicBezTo>
                        <a:pt x="19" y="54"/>
                        <a:pt x="19" y="54"/>
                        <a:pt x="19" y="54"/>
                      </a:cubicBezTo>
                      <a:cubicBezTo>
                        <a:pt x="19" y="54"/>
                        <a:pt x="18" y="54"/>
                        <a:pt x="18" y="53"/>
                      </a:cubicBezTo>
                      <a:cubicBezTo>
                        <a:pt x="17" y="48"/>
                        <a:pt x="17" y="48"/>
                        <a:pt x="17" y="48"/>
                      </a:cubicBezTo>
                      <a:cubicBezTo>
                        <a:pt x="16" y="47"/>
                        <a:pt x="16" y="47"/>
                        <a:pt x="15" y="47"/>
                      </a:cubicBezTo>
                      <a:cubicBezTo>
                        <a:pt x="11" y="50"/>
                        <a:pt x="11" y="50"/>
                        <a:pt x="11" y="50"/>
                      </a:cubicBezTo>
                      <a:cubicBezTo>
                        <a:pt x="10" y="50"/>
                        <a:pt x="10" y="50"/>
                        <a:pt x="10" y="50"/>
                      </a:cubicBezTo>
                      <a:cubicBezTo>
                        <a:pt x="10" y="50"/>
                        <a:pt x="9" y="50"/>
                        <a:pt x="9" y="50"/>
                      </a:cubicBezTo>
                      <a:cubicBezTo>
                        <a:pt x="8" y="49"/>
                        <a:pt x="4" y="45"/>
                        <a:pt x="4" y="44"/>
                      </a:cubicBezTo>
                      <a:cubicBezTo>
                        <a:pt x="4" y="44"/>
                        <a:pt x="4" y="44"/>
                        <a:pt x="4" y="43"/>
                      </a:cubicBezTo>
                      <a:cubicBezTo>
                        <a:pt x="5" y="42"/>
                        <a:pt x="6" y="41"/>
                        <a:pt x="7" y="39"/>
                      </a:cubicBezTo>
                      <a:cubicBezTo>
                        <a:pt x="7" y="38"/>
                        <a:pt x="6" y="37"/>
                        <a:pt x="6" y="36"/>
                      </a:cubicBezTo>
                      <a:cubicBezTo>
                        <a:pt x="1" y="35"/>
                        <a:pt x="1" y="35"/>
                        <a:pt x="1" y="35"/>
                      </a:cubicBezTo>
                      <a:cubicBezTo>
                        <a:pt x="0" y="35"/>
                        <a:pt x="0" y="35"/>
                        <a:pt x="0" y="34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27"/>
                        <a:pt x="0" y="27"/>
                        <a:pt x="1" y="27"/>
                      </a:cubicBezTo>
                      <a:cubicBezTo>
                        <a:pt x="6" y="26"/>
                        <a:pt x="6" y="26"/>
                        <a:pt x="6" y="26"/>
                      </a:cubicBezTo>
                      <a:cubicBezTo>
                        <a:pt x="6" y="25"/>
                        <a:pt x="7" y="24"/>
                        <a:pt x="7" y="23"/>
                      </a:cubicBezTo>
                      <a:cubicBezTo>
                        <a:pt x="6" y="22"/>
                        <a:pt x="5" y="20"/>
                        <a:pt x="4" y="19"/>
                      </a:cubicBezTo>
                      <a:cubicBezTo>
                        <a:pt x="4" y="19"/>
                        <a:pt x="4" y="19"/>
                        <a:pt x="4" y="18"/>
                      </a:cubicBezTo>
                      <a:cubicBezTo>
                        <a:pt x="4" y="18"/>
                        <a:pt x="4" y="18"/>
                        <a:pt x="4" y="18"/>
                      </a:cubicBezTo>
                      <a:cubicBezTo>
                        <a:pt x="5" y="17"/>
                        <a:pt x="9" y="12"/>
                        <a:pt x="10" y="12"/>
                      </a:cubicBezTo>
                      <a:cubicBezTo>
                        <a:pt x="10" y="12"/>
                        <a:pt x="10" y="12"/>
                        <a:pt x="11" y="13"/>
                      </a:cubicBezTo>
                      <a:cubicBezTo>
                        <a:pt x="15" y="16"/>
                        <a:pt x="15" y="16"/>
                        <a:pt x="15" y="16"/>
                      </a:cubicBezTo>
                      <a:cubicBezTo>
                        <a:pt x="16" y="15"/>
                        <a:pt x="16" y="15"/>
                        <a:pt x="17" y="15"/>
                      </a:cubicBezTo>
                      <a:cubicBezTo>
                        <a:pt x="18" y="13"/>
                        <a:pt x="18" y="11"/>
                        <a:pt x="18" y="9"/>
                      </a:cubicBezTo>
                      <a:cubicBezTo>
                        <a:pt x="18" y="9"/>
                        <a:pt x="19" y="8"/>
                        <a:pt x="19" y="8"/>
                      </a:cubicBezTo>
                      <a:cubicBezTo>
                        <a:pt x="26" y="8"/>
                        <a:pt x="26" y="8"/>
                        <a:pt x="26" y="8"/>
                      </a:cubicBezTo>
                      <a:cubicBezTo>
                        <a:pt x="26" y="8"/>
                        <a:pt x="27" y="9"/>
                        <a:pt x="27" y="9"/>
                      </a:cubicBezTo>
                      <a:cubicBezTo>
                        <a:pt x="28" y="15"/>
                        <a:pt x="28" y="15"/>
                        <a:pt x="28" y="15"/>
                      </a:cubicBezTo>
                      <a:cubicBezTo>
                        <a:pt x="29" y="15"/>
                        <a:pt x="30" y="15"/>
                        <a:pt x="31" y="16"/>
                      </a:cubicBezTo>
                      <a:cubicBezTo>
                        <a:pt x="35" y="13"/>
                        <a:pt x="35" y="13"/>
                        <a:pt x="35" y="13"/>
                      </a:cubicBezTo>
                      <a:cubicBezTo>
                        <a:pt x="35" y="12"/>
                        <a:pt x="35" y="12"/>
                        <a:pt x="35" y="12"/>
                      </a:cubicBezTo>
                      <a:cubicBezTo>
                        <a:pt x="36" y="12"/>
                        <a:pt x="36" y="12"/>
                        <a:pt x="36" y="13"/>
                      </a:cubicBezTo>
                      <a:cubicBezTo>
                        <a:pt x="37" y="13"/>
                        <a:pt x="41" y="17"/>
                        <a:pt x="41" y="18"/>
                      </a:cubicBezTo>
                      <a:cubicBezTo>
                        <a:pt x="41" y="19"/>
                        <a:pt x="41" y="19"/>
                        <a:pt x="41" y="19"/>
                      </a:cubicBezTo>
                      <a:cubicBezTo>
                        <a:pt x="40" y="20"/>
                        <a:pt x="39" y="22"/>
                        <a:pt x="38" y="23"/>
                      </a:cubicBezTo>
                      <a:cubicBezTo>
                        <a:pt x="38" y="24"/>
                        <a:pt x="39" y="25"/>
                        <a:pt x="39" y="26"/>
                      </a:cubicBezTo>
                      <a:cubicBezTo>
                        <a:pt x="45" y="27"/>
                        <a:pt x="45" y="27"/>
                        <a:pt x="45" y="27"/>
                      </a:cubicBezTo>
                      <a:cubicBezTo>
                        <a:pt x="45" y="27"/>
                        <a:pt x="45" y="27"/>
                        <a:pt x="45" y="28"/>
                      </a:cubicBezTo>
                      <a:lnTo>
                        <a:pt x="45" y="35"/>
                      </a:lnTo>
                      <a:close/>
                      <a:moveTo>
                        <a:pt x="23" y="22"/>
                      </a:moveTo>
                      <a:cubicBezTo>
                        <a:pt x="18" y="22"/>
                        <a:pt x="13" y="26"/>
                        <a:pt x="13" y="31"/>
                      </a:cubicBezTo>
                      <a:cubicBezTo>
                        <a:pt x="13" y="36"/>
                        <a:pt x="18" y="40"/>
                        <a:pt x="23" y="40"/>
                      </a:cubicBezTo>
                      <a:cubicBezTo>
                        <a:pt x="28" y="40"/>
                        <a:pt x="32" y="36"/>
                        <a:pt x="32" y="31"/>
                      </a:cubicBezTo>
                      <a:cubicBezTo>
                        <a:pt x="32" y="26"/>
                        <a:pt x="28" y="22"/>
                        <a:pt x="23" y="22"/>
                      </a:cubicBezTo>
                      <a:close/>
                      <a:moveTo>
                        <a:pt x="68" y="15"/>
                      </a:moveTo>
                      <a:cubicBezTo>
                        <a:pt x="68" y="16"/>
                        <a:pt x="64" y="16"/>
                        <a:pt x="63" y="16"/>
                      </a:cubicBezTo>
                      <a:cubicBezTo>
                        <a:pt x="63" y="17"/>
                        <a:pt x="62" y="18"/>
                        <a:pt x="62" y="18"/>
                      </a:cubicBezTo>
                      <a:cubicBezTo>
                        <a:pt x="62" y="19"/>
                        <a:pt x="64" y="23"/>
                        <a:pt x="64" y="23"/>
                      </a:cubicBezTo>
                      <a:cubicBezTo>
                        <a:pt x="64" y="23"/>
                        <a:pt x="64" y="23"/>
                        <a:pt x="64" y="24"/>
                      </a:cubicBezTo>
                      <a:cubicBezTo>
                        <a:pt x="63" y="24"/>
                        <a:pt x="59" y="26"/>
                        <a:pt x="59" y="26"/>
                      </a:cubicBezTo>
                      <a:cubicBezTo>
                        <a:pt x="59" y="26"/>
                        <a:pt x="56" y="22"/>
                        <a:pt x="56" y="22"/>
                      </a:cubicBezTo>
                      <a:cubicBezTo>
                        <a:pt x="55" y="22"/>
                        <a:pt x="55" y="22"/>
                        <a:pt x="55" y="22"/>
                      </a:cubicBezTo>
                      <a:cubicBezTo>
                        <a:pt x="54" y="22"/>
                        <a:pt x="54" y="22"/>
                        <a:pt x="54" y="22"/>
                      </a:cubicBezTo>
                      <a:cubicBezTo>
                        <a:pt x="53" y="22"/>
                        <a:pt x="50" y="26"/>
                        <a:pt x="50" y="26"/>
                      </a:cubicBezTo>
                      <a:cubicBezTo>
                        <a:pt x="50" y="26"/>
                        <a:pt x="46" y="24"/>
                        <a:pt x="46" y="24"/>
                      </a:cubicBezTo>
                      <a:cubicBezTo>
                        <a:pt x="45" y="23"/>
                        <a:pt x="45" y="23"/>
                        <a:pt x="45" y="23"/>
                      </a:cubicBezTo>
                      <a:cubicBezTo>
                        <a:pt x="45" y="23"/>
                        <a:pt x="47" y="19"/>
                        <a:pt x="47" y="18"/>
                      </a:cubicBezTo>
                      <a:cubicBezTo>
                        <a:pt x="47" y="18"/>
                        <a:pt x="46" y="17"/>
                        <a:pt x="46" y="16"/>
                      </a:cubicBezTo>
                      <a:cubicBezTo>
                        <a:pt x="45" y="16"/>
                        <a:pt x="41" y="16"/>
                        <a:pt x="41" y="15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1" y="10"/>
                        <a:pt x="45" y="9"/>
                        <a:pt x="46" y="9"/>
                      </a:cubicBezTo>
                      <a:cubicBezTo>
                        <a:pt x="46" y="9"/>
                        <a:pt x="47" y="8"/>
                        <a:pt x="47" y="7"/>
                      </a:cubicBezTo>
                      <a:cubicBezTo>
                        <a:pt x="47" y="7"/>
                        <a:pt x="45" y="3"/>
                        <a:pt x="45" y="2"/>
                      </a:cubicBezTo>
                      <a:cubicBezTo>
                        <a:pt x="45" y="2"/>
                        <a:pt x="45" y="2"/>
                        <a:pt x="46" y="2"/>
                      </a:cubicBezTo>
                      <a:cubicBezTo>
                        <a:pt x="46" y="2"/>
                        <a:pt x="50" y="0"/>
                        <a:pt x="50" y="0"/>
                      </a:cubicBezTo>
                      <a:cubicBezTo>
                        <a:pt x="50" y="0"/>
                        <a:pt x="53" y="3"/>
                        <a:pt x="54" y="4"/>
                      </a:cubicBezTo>
                      <a:cubicBezTo>
                        <a:pt x="54" y="4"/>
                        <a:pt x="54" y="4"/>
                        <a:pt x="55" y="4"/>
                      </a:cubicBezTo>
                      <a:cubicBezTo>
                        <a:pt x="55" y="4"/>
                        <a:pt x="55" y="4"/>
                        <a:pt x="56" y="4"/>
                      </a:cubicBezTo>
                      <a:cubicBezTo>
                        <a:pt x="57" y="2"/>
                        <a:pt x="58" y="1"/>
                        <a:pt x="59" y="0"/>
                      </a:cubicBez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9" y="0"/>
                        <a:pt x="63" y="2"/>
                        <a:pt x="64" y="2"/>
                      </a:cubicBezTo>
                      <a:cubicBezTo>
                        <a:pt x="64" y="2"/>
                        <a:pt x="64" y="2"/>
                        <a:pt x="64" y="2"/>
                      </a:cubicBezTo>
                      <a:cubicBezTo>
                        <a:pt x="64" y="3"/>
                        <a:pt x="62" y="7"/>
                        <a:pt x="62" y="7"/>
                      </a:cubicBezTo>
                      <a:cubicBezTo>
                        <a:pt x="62" y="8"/>
                        <a:pt x="63" y="9"/>
                        <a:pt x="63" y="9"/>
                      </a:cubicBezTo>
                      <a:cubicBezTo>
                        <a:pt x="64" y="9"/>
                        <a:pt x="68" y="10"/>
                        <a:pt x="68" y="10"/>
                      </a:cubicBezTo>
                      <a:lnTo>
                        <a:pt x="68" y="15"/>
                      </a:lnTo>
                      <a:close/>
                      <a:moveTo>
                        <a:pt x="68" y="52"/>
                      </a:moveTo>
                      <a:cubicBezTo>
                        <a:pt x="68" y="52"/>
                        <a:pt x="64" y="53"/>
                        <a:pt x="63" y="53"/>
                      </a:cubicBezTo>
                      <a:cubicBezTo>
                        <a:pt x="63" y="54"/>
                        <a:pt x="62" y="54"/>
                        <a:pt x="62" y="55"/>
                      </a:cubicBezTo>
                      <a:cubicBezTo>
                        <a:pt x="62" y="56"/>
                        <a:pt x="64" y="59"/>
                        <a:pt x="64" y="60"/>
                      </a:cubicBezTo>
                      <a:cubicBezTo>
                        <a:pt x="64" y="60"/>
                        <a:pt x="64" y="60"/>
                        <a:pt x="64" y="60"/>
                      </a:cubicBezTo>
                      <a:cubicBezTo>
                        <a:pt x="63" y="60"/>
                        <a:pt x="59" y="63"/>
                        <a:pt x="59" y="63"/>
                      </a:cubicBezTo>
                      <a:cubicBezTo>
                        <a:pt x="59" y="63"/>
                        <a:pt x="56" y="59"/>
                        <a:pt x="56" y="59"/>
                      </a:cubicBezTo>
                      <a:cubicBezTo>
                        <a:pt x="55" y="59"/>
                        <a:pt x="55" y="59"/>
                        <a:pt x="55" y="59"/>
                      </a:cubicBezTo>
                      <a:cubicBezTo>
                        <a:pt x="54" y="59"/>
                        <a:pt x="54" y="59"/>
                        <a:pt x="54" y="59"/>
                      </a:cubicBezTo>
                      <a:cubicBezTo>
                        <a:pt x="53" y="59"/>
                        <a:pt x="50" y="63"/>
                        <a:pt x="50" y="63"/>
                      </a:cubicBezTo>
                      <a:cubicBezTo>
                        <a:pt x="50" y="63"/>
                        <a:pt x="46" y="60"/>
                        <a:pt x="46" y="60"/>
                      </a:cubicBezTo>
                      <a:cubicBezTo>
                        <a:pt x="45" y="60"/>
                        <a:pt x="45" y="60"/>
                        <a:pt x="45" y="60"/>
                      </a:cubicBezTo>
                      <a:cubicBezTo>
                        <a:pt x="45" y="59"/>
                        <a:pt x="47" y="56"/>
                        <a:pt x="47" y="55"/>
                      </a:cubicBezTo>
                      <a:cubicBezTo>
                        <a:pt x="47" y="54"/>
                        <a:pt x="46" y="54"/>
                        <a:pt x="46" y="53"/>
                      </a:cubicBezTo>
                      <a:cubicBezTo>
                        <a:pt x="45" y="53"/>
                        <a:pt x="41" y="52"/>
                        <a:pt x="41" y="52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1" y="46"/>
                        <a:pt x="45" y="46"/>
                        <a:pt x="46" y="46"/>
                      </a:cubicBezTo>
                      <a:cubicBezTo>
                        <a:pt x="46" y="45"/>
                        <a:pt x="47" y="45"/>
                        <a:pt x="47" y="44"/>
                      </a:cubicBezTo>
                      <a:cubicBezTo>
                        <a:pt x="47" y="43"/>
                        <a:pt x="45" y="40"/>
                        <a:pt x="45" y="39"/>
                      </a:cubicBezTo>
                      <a:cubicBezTo>
                        <a:pt x="45" y="39"/>
                        <a:pt x="45" y="39"/>
                        <a:pt x="46" y="39"/>
                      </a:cubicBezTo>
                      <a:cubicBezTo>
                        <a:pt x="46" y="39"/>
                        <a:pt x="50" y="36"/>
                        <a:pt x="50" y="36"/>
                      </a:cubicBezTo>
                      <a:cubicBezTo>
                        <a:pt x="50" y="36"/>
                        <a:pt x="53" y="40"/>
                        <a:pt x="54" y="40"/>
                      </a:cubicBezTo>
                      <a:cubicBezTo>
                        <a:pt x="54" y="40"/>
                        <a:pt x="54" y="40"/>
                        <a:pt x="55" y="40"/>
                      </a:cubicBezTo>
                      <a:cubicBezTo>
                        <a:pt x="55" y="40"/>
                        <a:pt x="55" y="40"/>
                        <a:pt x="56" y="40"/>
                      </a:cubicBezTo>
                      <a:cubicBezTo>
                        <a:pt x="57" y="39"/>
                        <a:pt x="58" y="38"/>
                        <a:pt x="59" y="36"/>
                      </a:cubicBezTo>
                      <a:cubicBezTo>
                        <a:pt x="59" y="36"/>
                        <a:pt x="59" y="36"/>
                        <a:pt x="59" y="36"/>
                      </a:cubicBezTo>
                      <a:cubicBezTo>
                        <a:pt x="59" y="36"/>
                        <a:pt x="63" y="39"/>
                        <a:pt x="64" y="39"/>
                      </a:cubicBezTo>
                      <a:cubicBezTo>
                        <a:pt x="64" y="39"/>
                        <a:pt x="64" y="39"/>
                        <a:pt x="64" y="39"/>
                      </a:cubicBezTo>
                      <a:cubicBezTo>
                        <a:pt x="64" y="40"/>
                        <a:pt x="62" y="43"/>
                        <a:pt x="62" y="44"/>
                      </a:cubicBezTo>
                      <a:cubicBezTo>
                        <a:pt x="62" y="45"/>
                        <a:pt x="63" y="45"/>
                        <a:pt x="63" y="46"/>
                      </a:cubicBezTo>
                      <a:cubicBezTo>
                        <a:pt x="64" y="46"/>
                        <a:pt x="68" y="46"/>
                        <a:pt x="68" y="47"/>
                      </a:cubicBezTo>
                      <a:lnTo>
                        <a:pt x="68" y="52"/>
                      </a:lnTo>
                      <a:close/>
                      <a:moveTo>
                        <a:pt x="55" y="8"/>
                      </a:moveTo>
                      <a:cubicBezTo>
                        <a:pt x="52" y="8"/>
                        <a:pt x="50" y="10"/>
                        <a:pt x="50" y="13"/>
                      </a:cubicBezTo>
                      <a:cubicBezTo>
                        <a:pt x="50" y="15"/>
                        <a:pt x="52" y="17"/>
                        <a:pt x="55" y="17"/>
                      </a:cubicBezTo>
                      <a:cubicBezTo>
                        <a:pt x="57" y="17"/>
                        <a:pt x="59" y="15"/>
                        <a:pt x="59" y="13"/>
                      </a:cubicBezTo>
                      <a:cubicBezTo>
                        <a:pt x="59" y="10"/>
                        <a:pt x="57" y="8"/>
                        <a:pt x="55" y="8"/>
                      </a:cubicBezTo>
                      <a:close/>
                      <a:moveTo>
                        <a:pt x="55" y="45"/>
                      </a:moveTo>
                      <a:cubicBezTo>
                        <a:pt x="52" y="45"/>
                        <a:pt x="50" y="47"/>
                        <a:pt x="50" y="49"/>
                      </a:cubicBezTo>
                      <a:cubicBezTo>
                        <a:pt x="50" y="52"/>
                        <a:pt x="52" y="54"/>
                        <a:pt x="55" y="54"/>
                      </a:cubicBezTo>
                      <a:cubicBezTo>
                        <a:pt x="57" y="54"/>
                        <a:pt x="59" y="52"/>
                        <a:pt x="59" y="49"/>
                      </a:cubicBezTo>
                      <a:cubicBezTo>
                        <a:pt x="59" y="47"/>
                        <a:pt x="57" y="45"/>
                        <a:pt x="55" y="4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</a:ln>
              </p:spPr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2" name="组合 1"/>
            <p:cNvGrpSpPr/>
            <p:nvPr/>
          </p:nvGrpSpPr>
          <p:grpSpPr>
            <a:xfrm>
              <a:off x="3994" y="5861"/>
              <a:ext cx="3664" cy="4926"/>
              <a:chOff x="2535910" y="3721717"/>
              <a:chExt cx="2326654" cy="3128131"/>
            </a:xfrm>
          </p:grpSpPr>
          <p:sp>
            <p:nvSpPr>
              <p:cNvPr id="72" name="ïŝlíḋé"/>
              <p:cNvSpPr/>
              <p:nvPr/>
            </p:nvSpPr>
            <p:spPr>
              <a:xfrm>
                <a:off x="3531293" y="3813601"/>
                <a:ext cx="1331271" cy="331612"/>
              </a:xfrm>
              <a:prstGeom prst="roundRect">
                <a:avLst>
                  <a:gd name="adj" fmla="val 36367"/>
                </a:avLst>
              </a:prstGeom>
              <a:solidFill>
                <a:schemeClr val="accent3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anchor="ctr">
                <a:noAutofit/>
              </a:bodyPr>
              <a:lstStyle/>
              <a:p>
                <a:pPr lvl="0" algn="r" defTabSz="913765">
                  <a:spcBef>
                    <a:spcPct val="0"/>
                  </a:spcBef>
                  <a:defRPr/>
                </a:pPr>
                <a:r>
                  <a:rPr lang="en-US" altLang="zh-CN" sz="1700" dirty="0">
                    <a:solidFill>
                      <a:schemeClr val="bg1"/>
                    </a:solidFill>
                    <a:cs typeface="+mn-ea"/>
                    <a:sym typeface="+mn-lt"/>
                  </a:rPr>
                  <a:t>Add title</a:t>
                </a:r>
                <a:endParaRPr lang="zh-CN" altLang="en-US" sz="1700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73" name="išliḑê"/>
              <p:cNvGrpSpPr/>
              <p:nvPr/>
            </p:nvGrpSpPr>
            <p:grpSpPr>
              <a:xfrm>
                <a:off x="2535910" y="3721717"/>
                <a:ext cx="995282" cy="3128131"/>
                <a:chOff x="6085832" y="1685269"/>
                <a:chExt cx="1379569" cy="4335932"/>
              </a:xfrm>
            </p:grpSpPr>
            <p:sp>
              <p:nvSpPr>
                <p:cNvPr id="88" name="îsḻïdé"/>
                <p:cNvSpPr/>
                <p:nvPr/>
              </p:nvSpPr>
              <p:spPr>
                <a:xfrm>
                  <a:off x="6085832" y="1937661"/>
                  <a:ext cx="1202714" cy="4083540"/>
                </a:xfrm>
                <a:custGeom>
                  <a:avLst/>
                  <a:gdLst>
                    <a:gd name="connsiteX0" fmla="*/ 442921 w 1202714"/>
                    <a:gd name="connsiteY0" fmla="*/ 0 h 4083540"/>
                    <a:gd name="connsiteX1" fmla="*/ 1202714 w 1202714"/>
                    <a:gd name="connsiteY1" fmla="*/ 0 h 4083540"/>
                    <a:gd name="connsiteX2" fmla="*/ 1202714 w 1202714"/>
                    <a:gd name="connsiteY2" fmla="*/ 185426 h 4083540"/>
                    <a:gd name="connsiteX3" fmla="*/ 504824 w 1202714"/>
                    <a:gd name="connsiteY3" fmla="*/ 185426 h 4083540"/>
                    <a:gd name="connsiteX4" fmla="*/ 190498 w 1202714"/>
                    <a:gd name="connsiteY4" fmla="*/ 483917 h 4083540"/>
                    <a:gd name="connsiteX5" fmla="*/ 190498 w 1202714"/>
                    <a:gd name="connsiteY5" fmla="*/ 4083540 h 4083540"/>
                    <a:gd name="connsiteX6" fmla="*/ 924 w 1202714"/>
                    <a:gd name="connsiteY6" fmla="*/ 4083540 h 4083540"/>
                    <a:gd name="connsiteX7" fmla="*/ 0 w 1202714"/>
                    <a:gd name="connsiteY7" fmla="*/ 4074834 h 4083540"/>
                    <a:gd name="connsiteX8" fmla="*/ 0 w 1202714"/>
                    <a:gd name="connsiteY8" fmla="*/ 420608 h 4083540"/>
                    <a:gd name="connsiteX9" fmla="*/ 442921 w 1202714"/>
                    <a:gd name="connsiteY9" fmla="*/ 0 h 40835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202714" h="4083540">
                      <a:moveTo>
                        <a:pt x="442921" y="0"/>
                      </a:moveTo>
                      <a:lnTo>
                        <a:pt x="1202714" y="0"/>
                      </a:lnTo>
                      <a:lnTo>
                        <a:pt x="1202714" y="185426"/>
                      </a:lnTo>
                      <a:lnTo>
                        <a:pt x="504824" y="185426"/>
                      </a:lnTo>
                      <a:cubicBezTo>
                        <a:pt x="331227" y="185426"/>
                        <a:pt x="190498" y="319066"/>
                        <a:pt x="190498" y="483917"/>
                      </a:cubicBezTo>
                      <a:lnTo>
                        <a:pt x="190498" y="4083540"/>
                      </a:lnTo>
                      <a:lnTo>
                        <a:pt x="924" y="4083540"/>
                      </a:lnTo>
                      <a:lnTo>
                        <a:pt x="0" y="4074834"/>
                      </a:lnTo>
                      <a:lnTo>
                        <a:pt x="0" y="420608"/>
                      </a:lnTo>
                      <a:cubicBezTo>
                        <a:pt x="0" y="188312"/>
                        <a:pt x="198302" y="0"/>
                        <a:pt x="442921" y="0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 w="762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89" name="ïslîde"/>
                <p:cNvSpPr/>
                <p:nvPr/>
              </p:nvSpPr>
              <p:spPr>
                <a:xfrm>
                  <a:off x="6751026" y="1685269"/>
                  <a:ext cx="714375" cy="714375"/>
                </a:xfrm>
                <a:prstGeom prst="ellipse">
                  <a:avLst/>
                </a:prstGeom>
                <a:solidFill>
                  <a:schemeClr val="accent2"/>
                </a:solidFill>
                <a:ln w="762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79" name="išḷîďe"/>
              <p:cNvSpPr/>
              <p:nvPr/>
            </p:nvSpPr>
            <p:spPr bwMode="auto">
              <a:xfrm>
                <a:off x="3106577" y="3813271"/>
                <a:ext cx="329292" cy="317316"/>
              </a:xfrm>
              <a:custGeom>
                <a:avLst/>
                <a:gdLst>
                  <a:gd name="T0" fmla="*/ 0 w 208"/>
                  <a:gd name="T1" fmla="*/ 68 h 201"/>
                  <a:gd name="T2" fmla="*/ 8 w 208"/>
                  <a:gd name="T3" fmla="*/ 78 h 201"/>
                  <a:gd name="T4" fmla="*/ 31 w 208"/>
                  <a:gd name="T5" fmla="*/ 72 h 201"/>
                  <a:gd name="T6" fmla="*/ 64 w 208"/>
                  <a:gd name="T7" fmla="*/ 172 h 201"/>
                  <a:gd name="T8" fmla="*/ 106 w 208"/>
                  <a:gd name="T9" fmla="*/ 189 h 201"/>
                  <a:gd name="T10" fmla="*/ 197 w 208"/>
                  <a:gd name="T11" fmla="*/ 62 h 201"/>
                  <a:gd name="T12" fmla="*/ 114 w 208"/>
                  <a:gd name="T13" fmla="*/ 67 h 201"/>
                  <a:gd name="T14" fmla="*/ 137 w 208"/>
                  <a:gd name="T15" fmla="*/ 94 h 201"/>
                  <a:gd name="T16" fmla="*/ 109 w 208"/>
                  <a:gd name="T17" fmla="*/ 130 h 201"/>
                  <a:gd name="T18" fmla="*/ 93 w 208"/>
                  <a:gd name="T19" fmla="*/ 90 h 201"/>
                  <a:gd name="T20" fmla="*/ 60 w 208"/>
                  <a:gd name="T21" fmla="*/ 22 h 201"/>
                  <a:gd name="T22" fmla="*/ 0 w 208"/>
                  <a:gd name="T23" fmla="*/ 68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08" h="201">
                    <a:moveTo>
                      <a:pt x="0" y="68"/>
                    </a:moveTo>
                    <a:cubicBezTo>
                      <a:pt x="8" y="78"/>
                      <a:pt x="8" y="78"/>
                      <a:pt x="8" y="78"/>
                    </a:cubicBezTo>
                    <a:cubicBezTo>
                      <a:pt x="8" y="78"/>
                      <a:pt x="25" y="65"/>
                      <a:pt x="31" y="72"/>
                    </a:cubicBezTo>
                    <a:cubicBezTo>
                      <a:pt x="36" y="78"/>
                      <a:pt x="57" y="157"/>
                      <a:pt x="64" y="172"/>
                    </a:cubicBezTo>
                    <a:cubicBezTo>
                      <a:pt x="70" y="184"/>
                      <a:pt x="87" y="201"/>
                      <a:pt x="106" y="189"/>
                    </a:cubicBezTo>
                    <a:cubicBezTo>
                      <a:pt x="125" y="177"/>
                      <a:pt x="186" y="124"/>
                      <a:pt x="197" y="62"/>
                    </a:cubicBezTo>
                    <a:cubicBezTo>
                      <a:pt x="208" y="0"/>
                      <a:pt x="123" y="13"/>
                      <a:pt x="114" y="67"/>
                    </a:cubicBezTo>
                    <a:cubicBezTo>
                      <a:pt x="137" y="54"/>
                      <a:pt x="149" y="73"/>
                      <a:pt x="137" y="94"/>
                    </a:cubicBezTo>
                    <a:cubicBezTo>
                      <a:pt x="126" y="116"/>
                      <a:pt x="115" y="130"/>
                      <a:pt x="109" y="130"/>
                    </a:cubicBezTo>
                    <a:cubicBezTo>
                      <a:pt x="104" y="130"/>
                      <a:pt x="100" y="116"/>
                      <a:pt x="93" y="90"/>
                    </a:cubicBezTo>
                    <a:cubicBezTo>
                      <a:pt x="87" y="64"/>
                      <a:pt x="87" y="17"/>
                      <a:pt x="60" y="22"/>
                    </a:cubicBezTo>
                    <a:cubicBezTo>
                      <a:pt x="34" y="27"/>
                      <a:pt x="0" y="68"/>
                      <a:pt x="0" y="68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</p:grpSp>
      <p:sp>
        <p:nvSpPr>
          <p:cNvPr id="55" name="îŝ1iḑe"/>
          <p:cNvSpPr/>
          <p:nvPr/>
        </p:nvSpPr>
        <p:spPr>
          <a:xfrm>
            <a:off x="4063882" y="1781285"/>
            <a:ext cx="3298308" cy="960719"/>
          </a:xfrm>
          <a:prstGeom prst="rect">
            <a:avLst/>
          </a:prstGeom>
        </p:spPr>
        <p:txBody>
          <a:bodyPr wrap="square" lIns="144000" tIns="0" rIns="144000" bIns="0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4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Click here to add content, content to match the title. </a:t>
            </a:r>
          </a:p>
          <a:p>
            <a:pPr>
              <a:lnSpc>
                <a:spcPct val="120000"/>
              </a:lnSpc>
            </a:pPr>
            <a:endParaRPr lang="en-US" altLang="zh-CN" sz="1400" dirty="0">
              <a:solidFill>
                <a:schemeClr val="tx1">
                  <a:lumMod val="85000"/>
                  <a:lumOff val="1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56" name="ïṣļiḑe"/>
          <p:cNvSpPr/>
          <p:nvPr/>
        </p:nvSpPr>
        <p:spPr>
          <a:xfrm>
            <a:off x="4105275" y="1567815"/>
            <a:ext cx="956945" cy="396240"/>
          </a:xfrm>
          <a:prstGeom prst="rect">
            <a:avLst/>
          </a:prstGeom>
        </p:spPr>
        <p:txBody>
          <a:bodyPr wrap="none" lIns="144000" tIns="0" rIns="144000" bIns="0">
            <a:normAutofit/>
          </a:bodyPr>
          <a:lstStyle/>
          <a:p>
            <a:pPr lvl="0" algn="r"/>
            <a:r>
              <a:rPr lang="en-US" altLang="zh-CN" sz="1400" b="1" dirty="0">
                <a:solidFill>
                  <a:schemeClr val="accent2"/>
                </a:solidFill>
                <a:cs typeface="+mn-ea"/>
                <a:sym typeface="+mn-lt"/>
              </a:rPr>
              <a:t>Add title</a:t>
            </a:r>
            <a:endParaRPr lang="zh-CN" altLang="en-US" sz="1400" b="1" dirty="0">
              <a:solidFill>
                <a:schemeClr val="accent2"/>
              </a:solidFill>
              <a:cs typeface="+mn-ea"/>
              <a:sym typeface="+mn-lt"/>
            </a:endParaRPr>
          </a:p>
        </p:txBody>
      </p:sp>
      <p:sp>
        <p:nvSpPr>
          <p:cNvPr id="6" name="îŝ1iḑe"/>
          <p:cNvSpPr/>
          <p:nvPr/>
        </p:nvSpPr>
        <p:spPr>
          <a:xfrm>
            <a:off x="4063882" y="2628375"/>
            <a:ext cx="3298308" cy="960719"/>
          </a:xfrm>
          <a:prstGeom prst="rect">
            <a:avLst/>
          </a:prstGeom>
        </p:spPr>
        <p:txBody>
          <a:bodyPr wrap="square" lIns="144000" tIns="0" rIns="144000" bIns="0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4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Click here to add content, content to match the title. </a:t>
            </a:r>
          </a:p>
          <a:p>
            <a:pPr>
              <a:lnSpc>
                <a:spcPct val="120000"/>
              </a:lnSpc>
            </a:pPr>
            <a:endParaRPr lang="en-US" altLang="zh-CN" sz="1400" dirty="0">
              <a:solidFill>
                <a:schemeClr val="tx1">
                  <a:lumMod val="85000"/>
                  <a:lumOff val="1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8" name="ïṣļiḑe"/>
          <p:cNvSpPr/>
          <p:nvPr/>
        </p:nvSpPr>
        <p:spPr>
          <a:xfrm>
            <a:off x="4105275" y="2414905"/>
            <a:ext cx="956945" cy="396240"/>
          </a:xfrm>
          <a:prstGeom prst="rect">
            <a:avLst/>
          </a:prstGeom>
        </p:spPr>
        <p:txBody>
          <a:bodyPr wrap="none" lIns="144000" tIns="0" rIns="144000" bIns="0">
            <a:normAutofit/>
          </a:bodyPr>
          <a:lstStyle/>
          <a:p>
            <a:pPr lvl="0" algn="r"/>
            <a:r>
              <a:rPr lang="en-US" altLang="zh-CN" sz="1400" b="1" dirty="0">
                <a:solidFill>
                  <a:schemeClr val="accent2"/>
                </a:solidFill>
                <a:cs typeface="+mn-ea"/>
                <a:sym typeface="+mn-lt"/>
              </a:rPr>
              <a:t>Add title</a:t>
            </a:r>
            <a:endParaRPr lang="zh-CN" altLang="en-US" sz="1400" b="1" dirty="0">
              <a:solidFill>
                <a:schemeClr val="accent2"/>
              </a:solidFill>
              <a:cs typeface="+mn-ea"/>
              <a:sym typeface="+mn-lt"/>
            </a:endParaRPr>
          </a:p>
        </p:txBody>
      </p:sp>
      <p:sp>
        <p:nvSpPr>
          <p:cNvPr id="9" name="îŝ1iḑe"/>
          <p:cNvSpPr/>
          <p:nvPr/>
        </p:nvSpPr>
        <p:spPr>
          <a:xfrm>
            <a:off x="4063882" y="3489435"/>
            <a:ext cx="3298308" cy="960719"/>
          </a:xfrm>
          <a:prstGeom prst="rect">
            <a:avLst/>
          </a:prstGeom>
        </p:spPr>
        <p:txBody>
          <a:bodyPr wrap="square" lIns="144000" tIns="0" rIns="144000" bIns="0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4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rPr>
              <a:t>Click here to add content, content to match the title. </a:t>
            </a:r>
          </a:p>
          <a:p>
            <a:pPr>
              <a:lnSpc>
                <a:spcPct val="120000"/>
              </a:lnSpc>
            </a:pPr>
            <a:endParaRPr lang="en-US" altLang="zh-CN" sz="1400" dirty="0">
              <a:solidFill>
                <a:schemeClr val="tx1">
                  <a:lumMod val="85000"/>
                  <a:lumOff val="1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0" name="ïṣļiḑe"/>
          <p:cNvSpPr/>
          <p:nvPr/>
        </p:nvSpPr>
        <p:spPr>
          <a:xfrm>
            <a:off x="4105275" y="3275965"/>
            <a:ext cx="956945" cy="396240"/>
          </a:xfrm>
          <a:prstGeom prst="rect">
            <a:avLst/>
          </a:prstGeom>
        </p:spPr>
        <p:txBody>
          <a:bodyPr wrap="none" lIns="144000" tIns="0" rIns="144000" bIns="0">
            <a:normAutofit/>
          </a:bodyPr>
          <a:lstStyle/>
          <a:p>
            <a:pPr lvl="0" algn="r"/>
            <a:r>
              <a:rPr lang="en-US" altLang="zh-CN" sz="1400" b="1" dirty="0">
                <a:solidFill>
                  <a:schemeClr val="accent2"/>
                </a:solidFill>
                <a:cs typeface="+mn-ea"/>
                <a:sym typeface="+mn-lt"/>
              </a:rPr>
              <a:t>Add title</a:t>
            </a:r>
            <a:endParaRPr lang="zh-CN" altLang="en-US" sz="1400" b="1" dirty="0">
              <a:solidFill>
                <a:schemeClr val="accent2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400" tmFilter="0,0; .5, 1; 1, 1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55" grpId="0"/>
      <p:bldP spid="56" grpId="0"/>
      <p:bldP spid="6" grpId="0"/>
      <p:bldP spid="8" grpId="0"/>
      <p:bldP spid="9" grpId="0"/>
      <p:bldP spid="10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31"/>
          <p:cNvSpPr txBox="1"/>
          <p:nvPr/>
        </p:nvSpPr>
        <p:spPr>
          <a:xfrm>
            <a:off x="1967706" y="127331"/>
            <a:ext cx="5208588" cy="523220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defPPr>
              <a:defRPr lang="zh-CN"/>
            </a:defPPr>
            <a:lvl1pPr lvl="0">
              <a:defRPr sz="3600" b="1">
                <a:solidFill>
                  <a:schemeClr val="accent2"/>
                </a:solidFill>
                <a:cs typeface="+mn-ea"/>
              </a:defRPr>
            </a:lvl1pPr>
          </a:lstStyle>
          <a:p>
            <a:pPr algn="ctr"/>
            <a:r>
              <a:rPr lang="en-US" altLang="zh-CN" sz="2800" dirty="0">
                <a:sym typeface="+mn-lt"/>
              </a:rPr>
              <a:t>Diversified evaluation mechanism</a:t>
            </a:r>
            <a:endParaRPr lang="zh-CN" altLang="en-US" sz="2800" dirty="0">
              <a:sym typeface="+mn-lt"/>
            </a:endParaRPr>
          </a:p>
        </p:txBody>
      </p:sp>
      <p:grpSp>
        <p:nvGrpSpPr>
          <p:cNvPr id="76" name="组合 75"/>
          <p:cNvGrpSpPr/>
          <p:nvPr/>
        </p:nvGrpSpPr>
        <p:grpSpPr>
          <a:xfrm>
            <a:off x="5650865" y="1038225"/>
            <a:ext cx="1052830" cy="3543300"/>
            <a:chOff x="8671429" y="772255"/>
            <a:chExt cx="1800200" cy="6055545"/>
          </a:xfrm>
        </p:grpSpPr>
        <p:sp>
          <p:nvSpPr>
            <p:cNvPr id="36" name="iṩļidè"/>
            <p:cNvSpPr/>
            <p:nvPr/>
          </p:nvSpPr>
          <p:spPr bwMode="auto">
            <a:xfrm flipH="1">
              <a:off x="9518268" y="772255"/>
              <a:ext cx="106521" cy="2281260"/>
            </a:xfrm>
            <a:prstGeom prst="rect">
              <a:avLst/>
            </a:prstGeom>
            <a:solidFill>
              <a:schemeClr val="accent2"/>
            </a:solidFill>
            <a:ln w="19050">
              <a:noFill/>
              <a:round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7" name="îṣḷíďe"/>
            <p:cNvSpPr/>
            <p:nvPr/>
          </p:nvSpPr>
          <p:spPr bwMode="auto">
            <a:xfrm>
              <a:off x="8671429" y="1937804"/>
              <a:ext cx="1800200" cy="1116124"/>
            </a:xfrm>
            <a:custGeom>
              <a:avLst/>
              <a:gdLst>
                <a:gd name="connsiteX0" fmla="*/ 900100 w 1800200"/>
                <a:gd name="connsiteY0" fmla="*/ 0 h 1116124"/>
                <a:gd name="connsiteX1" fmla="*/ 1800200 w 1800200"/>
                <a:gd name="connsiteY1" fmla="*/ 900100 h 1116124"/>
                <a:gd name="connsiteX2" fmla="*/ 1781913 w 1800200"/>
                <a:gd name="connsiteY2" fmla="*/ 1081502 h 1116124"/>
                <a:gd name="connsiteX3" fmla="*/ 1773011 w 1800200"/>
                <a:gd name="connsiteY3" fmla="*/ 1116124 h 1116124"/>
                <a:gd name="connsiteX4" fmla="*/ 27190 w 1800200"/>
                <a:gd name="connsiteY4" fmla="*/ 1116124 h 1116124"/>
                <a:gd name="connsiteX5" fmla="*/ 18287 w 1800200"/>
                <a:gd name="connsiteY5" fmla="*/ 1081502 h 1116124"/>
                <a:gd name="connsiteX6" fmla="*/ 0 w 1800200"/>
                <a:gd name="connsiteY6" fmla="*/ 900100 h 1116124"/>
                <a:gd name="connsiteX7" fmla="*/ 900100 w 1800200"/>
                <a:gd name="connsiteY7" fmla="*/ 0 h 1116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00200" h="1116124">
                  <a:moveTo>
                    <a:pt x="900100" y="0"/>
                  </a:moveTo>
                  <a:cubicBezTo>
                    <a:pt x="1397212" y="0"/>
                    <a:pt x="1800200" y="402988"/>
                    <a:pt x="1800200" y="900100"/>
                  </a:cubicBezTo>
                  <a:cubicBezTo>
                    <a:pt x="1800200" y="962239"/>
                    <a:pt x="1793903" y="1022907"/>
                    <a:pt x="1781913" y="1081502"/>
                  </a:cubicBezTo>
                  <a:lnTo>
                    <a:pt x="1773011" y="1116124"/>
                  </a:lnTo>
                  <a:lnTo>
                    <a:pt x="27190" y="1116124"/>
                  </a:lnTo>
                  <a:lnTo>
                    <a:pt x="18287" y="1081502"/>
                  </a:lnTo>
                  <a:cubicBezTo>
                    <a:pt x="6297" y="1022907"/>
                    <a:pt x="0" y="962239"/>
                    <a:pt x="0" y="900100"/>
                  </a:cubicBezTo>
                  <a:cubicBezTo>
                    <a:pt x="0" y="402988"/>
                    <a:pt x="402988" y="0"/>
                    <a:pt x="900100" y="0"/>
                  </a:cubicBezTo>
                  <a:close/>
                </a:path>
              </a:pathLst>
            </a:custGeom>
            <a:solidFill>
              <a:schemeClr val="accent2"/>
            </a:solidFill>
            <a:ln w="19050">
              <a:noFill/>
              <a:round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8" name="îṡḻîḓê"/>
            <p:cNvSpPr/>
            <p:nvPr/>
          </p:nvSpPr>
          <p:spPr>
            <a:xfrm>
              <a:off x="9167638" y="3225718"/>
              <a:ext cx="808670" cy="3602082"/>
            </a:xfrm>
            <a:prstGeom prst="rect">
              <a:avLst/>
            </a:prstGeom>
          </p:spPr>
          <p:txBody>
            <a:bodyPr vert="eaVert" wrap="square">
              <a:normAutofit fontScale="75000" lnSpcReduction="20000"/>
            </a:bodyPr>
            <a:lstStyle/>
            <a:p>
              <a:r>
                <a:rPr lang="en-US" altLang="zh-CN" sz="2800" b="1" spc="300" dirty="0">
                  <a:solidFill>
                    <a:schemeClr val="tx2"/>
                  </a:solidFill>
                  <a:cs typeface="+mn-ea"/>
                  <a:sym typeface="+mn-lt"/>
                </a:rPr>
                <a:t>Add title</a:t>
              </a:r>
              <a:r>
                <a:rPr lang="zh-CN" altLang="en-US" sz="2800" b="1" spc="300" dirty="0">
                  <a:solidFill>
                    <a:schemeClr val="tx2"/>
                  </a:solidFill>
                  <a:cs typeface="+mn-ea"/>
                  <a:sym typeface="+mn-lt"/>
                </a:rPr>
                <a:t> </a:t>
              </a:r>
            </a:p>
          </p:txBody>
        </p:sp>
      </p:grpSp>
      <p:grpSp>
        <p:nvGrpSpPr>
          <p:cNvPr id="70" name="组合 69"/>
          <p:cNvGrpSpPr/>
          <p:nvPr/>
        </p:nvGrpSpPr>
        <p:grpSpPr>
          <a:xfrm>
            <a:off x="561340" y="1419225"/>
            <a:ext cx="3728085" cy="970280"/>
            <a:chOff x="2455611" y="1526964"/>
            <a:chExt cx="5267301" cy="1370730"/>
          </a:xfrm>
        </p:grpSpPr>
        <p:sp>
          <p:nvSpPr>
            <p:cNvPr id="48" name="íS1iḋe"/>
            <p:cNvSpPr/>
            <p:nvPr/>
          </p:nvSpPr>
          <p:spPr>
            <a:xfrm>
              <a:off x="2455611" y="1526964"/>
              <a:ext cx="624349" cy="624349"/>
            </a:xfrm>
            <a:prstGeom prst="ellipse">
              <a:avLst/>
            </a:prstGeom>
            <a:solidFill>
              <a:srgbClr val="B1B5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normAutofit/>
            </a:bodyPr>
            <a:lstStyle/>
            <a:p>
              <a:pPr algn="ctr"/>
              <a:r>
                <a:rPr lang="en-US" altLang="zh-CN">
                  <a:solidFill>
                    <a:schemeClr val="bg1"/>
                  </a:solidFill>
                  <a:cs typeface="+mn-ea"/>
                  <a:sym typeface="+mn-lt"/>
                </a:rPr>
                <a:t>01</a:t>
              </a:r>
            </a:p>
          </p:txBody>
        </p:sp>
        <p:sp>
          <p:nvSpPr>
            <p:cNvPr id="60" name="îŝ1iḑe"/>
            <p:cNvSpPr/>
            <p:nvPr/>
          </p:nvSpPr>
          <p:spPr>
            <a:xfrm>
              <a:off x="3022769" y="1936975"/>
              <a:ext cx="4700143" cy="960719"/>
            </a:xfrm>
            <a:prstGeom prst="rect">
              <a:avLst/>
            </a:prstGeom>
          </p:spPr>
          <p:txBody>
            <a:bodyPr wrap="square" lIns="144000" tIns="0" rIns="144000" bIns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+mn-ea"/>
                  <a:sym typeface="+mn-lt"/>
                </a:rPr>
                <a:t>Click here to add content, content to match the title. </a:t>
              </a:r>
            </a:p>
            <a:p>
              <a:pPr>
                <a:lnSpc>
                  <a:spcPct val="120000"/>
                </a:lnSpc>
              </a:pPr>
              <a:endParaRPr lang="en-US" altLang="zh-CN" sz="14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61" name="ïṣļiḑe"/>
            <p:cNvSpPr/>
            <p:nvPr/>
          </p:nvSpPr>
          <p:spPr>
            <a:xfrm>
              <a:off x="3022815" y="1640489"/>
              <a:ext cx="1663547" cy="396000"/>
            </a:xfrm>
            <a:prstGeom prst="rect">
              <a:avLst/>
            </a:prstGeom>
          </p:spPr>
          <p:txBody>
            <a:bodyPr wrap="none" lIns="144000" tIns="0" rIns="144000" bIns="0">
              <a:normAutofit fontScale="97500" lnSpcReduction="10000"/>
            </a:bodyPr>
            <a:lstStyle/>
            <a:p>
              <a:pPr lvl="0" algn="r"/>
              <a:r>
                <a:rPr lang="en-US" altLang="zh-CN" sz="2000" b="1" dirty="0">
                  <a:solidFill>
                    <a:schemeClr val="accent2"/>
                  </a:solidFill>
                  <a:cs typeface="+mn-ea"/>
                  <a:sym typeface="+mn-lt"/>
                </a:rPr>
                <a:t>Add title</a:t>
              </a:r>
              <a:endParaRPr lang="zh-CN" altLang="en-US" sz="2000" b="1" dirty="0">
                <a:solidFill>
                  <a:schemeClr val="accent2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2" name="组合 1"/>
          <p:cNvGrpSpPr/>
          <p:nvPr/>
        </p:nvGrpSpPr>
        <p:grpSpPr>
          <a:xfrm>
            <a:off x="561340" y="2351405"/>
            <a:ext cx="3728085" cy="970280"/>
            <a:chOff x="2455611" y="1526964"/>
            <a:chExt cx="5267301" cy="1370730"/>
          </a:xfrm>
        </p:grpSpPr>
        <p:sp>
          <p:nvSpPr>
            <p:cNvPr id="3" name="íS1iḋe"/>
            <p:cNvSpPr/>
            <p:nvPr/>
          </p:nvSpPr>
          <p:spPr>
            <a:xfrm>
              <a:off x="2455611" y="1526964"/>
              <a:ext cx="624349" cy="624349"/>
            </a:xfrm>
            <a:prstGeom prst="ellipse">
              <a:avLst/>
            </a:prstGeom>
            <a:solidFill>
              <a:srgbClr val="B1B5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normAutofit/>
            </a:bodyPr>
            <a:lstStyle/>
            <a:p>
              <a:pPr algn="ctr"/>
              <a:r>
                <a:rPr lang="en-US" altLang="zh-CN">
                  <a:solidFill>
                    <a:schemeClr val="bg1"/>
                  </a:solidFill>
                  <a:cs typeface="+mn-ea"/>
                  <a:sym typeface="+mn-lt"/>
                </a:rPr>
                <a:t>02</a:t>
              </a:r>
            </a:p>
          </p:txBody>
        </p:sp>
        <p:sp>
          <p:nvSpPr>
            <p:cNvPr id="4" name="îŝ1iḑe"/>
            <p:cNvSpPr/>
            <p:nvPr/>
          </p:nvSpPr>
          <p:spPr>
            <a:xfrm>
              <a:off x="3022769" y="1936975"/>
              <a:ext cx="4700143" cy="960719"/>
            </a:xfrm>
            <a:prstGeom prst="rect">
              <a:avLst/>
            </a:prstGeom>
          </p:spPr>
          <p:txBody>
            <a:bodyPr wrap="square" lIns="144000" tIns="0" rIns="144000" bIns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+mn-ea"/>
                  <a:sym typeface="+mn-lt"/>
                </a:rPr>
                <a:t>Click here to add content, content to match the title. </a:t>
              </a:r>
            </a:p>
            <a:p>
              <a:pPr>
                <a:lnSpc>
                  <a:spcPct val="120000"/>
                </a:lnSpc>
              </a:pPr>
              <a:endParaRPr lang="en-US" altLang="zh-CN" sz="14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5" name="ïṣļiḑe"/>
            <p:cNvSpPr/>
            <p:nvPr/>
          </p:nvSpPr>
          <p:spPr>
            <a:xfrm>
              <a:off x="3022815" y="1640489"/>
              <a:ext cx="1663547" cy="396000"/>
            </a:xfrm>
            <a:prstGeom prst="rect">
              <a:avLst/>
            </a:prstGeom>
          </p:spPr>
          <p:txBody>
            <a:bodyPr wrap="none" lIns="144000" tIns="0" rIns="144000" bIns="0">
              <a:normAutofit fontScale="97500" lnSpcReduction="10000"/>
            </a:bodyPr>
            <a:lstStyle/>
            <a:p>
              <a:pPr lvl="0" algn="r"/>
              <a:r>
                <a:rPr lang="en-US" altLang="zh-CN" sz="2000" b="1" dirty="0">
                  <a:solidFill>
                    <a:schemeClr val="accent2"/>
                  </a:solidFill>
                  <a:cs typeface="+mn-ea"/>
                  <a:sym typeface="+mn-lt"/>
                </a:rPr>
                <a:t>Add title</a:t>
              </a:r>
              <a:endParaRPr lang="zh-CN" altLang="en-US" sz="2000" b="1" dirty="0">
                <a:solidFill>
                  <a:schemeClr val="accent2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561340" y="3274060"/>
            <a:ext cx="3728085" cy="970280"/>
            <a:chOff x="2455611" y="1526964"/>
            <a:chExt cx="5267301" cy="1370730"/>
          </a:xfrm>
        </p:grpSpPr>
        <p:sp>
          <p:nvSpPr>
            <p:cNvPr id="8" name="íS1iḋe"/>
            <p:cNvSpPr/>
            <p:nvPr/>
          </p:nvSpPr>
          <p:spPr>
            <a:xfrm>
              <a:off x="2455611" y="1526964"/>
              <a:ext cx="624349" cy="624349"/>
            </a:xfrm>
            <a:prstGeom prst="ellipse">
              <a:avLst/>
            </a:prstGeom>
            <a:solidFill>
              <a:srgbClr val="B1B5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anchor="ctr">
              <a:normAutofit/>
            </a:bodyPr>
            <a:lstStyle/>
            <a:p>
              <a:pPr algn="ctr"/>
              <a:r>
                <a:rPr lang="en-US" altLang="zh-CN">
                  <a:solidFill>
                    <a:schemeClr val="bg1"/>
                  </a:solidFill>
                  <a:cs typeface="+mn-ea"/>
                  <a:sym typeface="+mn-lt"/>
                </a:rPr>
                <a:t>03</a:t>
              </a:r>
            </a:p>
          </p:txBody>
        </p:sp>
        <p:sp>
          <p:nvSpPr>
            <p:cNvPr id="9" name="îŝ1iḑe"/>
            <p:cNvSpPr/>
            <p:nvPr/>
          </p:nvSpPr>
          <p:spPr>
            <a:xfrm>
              <a:off x="3022769" y="1936975"/>
              <a:ext cx="4700143" cy="960719"/>
            </a:xfrm>
            <a:prstGeom prst="rect">
              <a:avLst/>
            </a:prstGeom>
          </p:spPr>
          <p:txBody>
            <a:bodyPr wrap="square" lIns="144000" tIns="0" rIns="144000" bIns="0">
              <a:norm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400" dirty="0">
                  <a:solidFill>
                    <a:schemeClr val="tx1">
                      <a:lumMod val="85000"/>
                      <a:lumOff val="15000"/>
                    </a:schemeClr>
                  </a:solidFill>
                  <a:cs typeface="+mn-ea"/>
                  <a:sym typeface="+mn-lt"/>
                </a:rPr>
                <a:t>Click here to add content, content to match the title. </a:t>
              </a:r>
            </a:p>
            <a:p>
              <a:pPr>
                <a:lnSpc>
                  <a:spcPct val="120000"/>
                </a:lnSpc>
              </a:pPr>
              <a:endParaRPr lang="en-US" altLang="zh-CN" sz="1400" dirty="0">
                <a:solidFill>
                  <a:schemeClr val="tx1">
                    <a:lumMod val="85000"/>
                    <a:lumOff val="1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0" name="ïṣļiḑe"/>
            <p:cNvSpPr/>
            <p:nvPr/>
          </p:nvSpPr>
          <p:spPr>
            <a:xfrm>
              <a:off x="3022815" y="1640489"/>
              <a:ext cx="1663547" cy="396000"/>
            </a:xfrm>
            <a:prstGeom prst="rect">
              <a:avLst/>
            </a:prstGeom>
          </p:spPr>
          <p:txBody>
            <a:bodyPr wrap="none" lIns="144000" tIns="0" rIns="144000" bIns="0">
              <a:normAutofit fontScale="97500" lnSpcReduction="10000"/>
            </a:bodyPr>
            <a:lstStyle/>
            <a:p>
              <a:pPr lvl="0" algn="r"/>
              <a:r>
                <a:rPr lang="en-US" altLang="zh-CN" sz="2000" b="1" dirty="0">
                  <a:solidFill>
                    <a:schemeClr val="accent2"/>
                  </a:solidFill>
                  <a:cs typeface="+mn-ea"/>
                  <a:sym typeface="+mn-lt"/>
                </a:rPr>
                <a:t>Add title</a:t>
              </a:r>
              <a:endParaRPr lang="zh-CN" altLang="en-US" sz="2000" b="1" dirty="0">
                <a:solidFill>
                  <a:schemeClr val="accent2"/>
                </a:solidFill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400" tmFilter="0,0; .5, 1; 1, 1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60"/>
                            </p:stCondLst>
                            <p:childTnLst>
                              <p:par>
                                <p:cTn id="13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60"/>
                            </p:stCondLst>
                            <p:childTnLst>
                              <p:par>
                                <p:cTn id="1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60"/>
                            </p:stCondLst>
                            <p:childTnLst>
                              <p:par>
                                <p:cTn id="21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60"/>
                            </p:stCondLst>
                            <p:childTnLst>
                              <p:par>
                                <p:cTn id="2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4140" y="1427401"/>
            <a:ext cx="7040398" cy="2568847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0" y="1848420"/>
            <a:ext cx="9144000" cy="3303660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V="1">
            <a:off x="0" y="-28068"/>
            <a:ext cx="9144000" cy="3078298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1866176" y="2025820"/>
            <a:ext cx="529632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4800" dirty="0">
                <a:solidFill>
                  <a:schemeClr val="accent2"/>
                </a:solidFill>
                <a:cs typeface="+mn-ea"/>
                <a:sym typeface="+mn-lt"/>
              </a:rPr>
              <a:t>THANK YOU</a:t>
            </a:r>
            <a:endParaRPr lang="zh-CN" altLang="en-US" sz="4800" dirty="0">
              <a:solidFill>
                <a:schemeClr val="accent2"/>
              </a:solidFill>
              <a:cs typeface="+mn-ea"/>
              <a:sym typeface="+mn-lt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EE68E25F-6579-55B5-6C05-6A6BE785527C}"/>
              </a:ext>
            </a:extLst>
          </p:cNvPr>
          <p:cNvGrpSpPr/>
          <p:nvPr/>
        </p:nvGrpSpPr>
        <p:grpSpPr>
          <a:xfrm>
            <a:off x="2869223" y="3070389"/>
            <a:ext cx="3734477" cy="314481"/>
            <a:chOff x="4414802" y="4745227"/>
            <a:chExt cx="3734477" cy="314481"/>
          </a:xfrm>
        </p:grpSpPr>
        <p:grpSp>
          <p:nvGrpSpPr>
            <p:cNvPr id="5" name="组合 4">
              <a:extLst>
                <a:ext uri="{FF2B5EF4-FFF2-40B4-BE49-F238E27FC236}">
                  <a16:creationId xmlns:a16="http://schemas.microsoft.com/office/drawing/2014/main" id="{0F5E2854-C511-A71E-25A2-5213048904E0}"/>
                </a:ext>
              </a:extLst>
            </p:cNvPr>
            <p:cNvGrpSpPr/>
            <p:nvPr/>
          </p:nvGrpSpPr>
          <p:grpSpPr>
            <a:xfrm>
              <a:off x="6654696" y="4763888"/>
              <a:ext cx="290407" cy="290407"/>
              <a:chOff x="2633025" y="5543873"/>
              <a:chExt cx="290407" cy="290407"/>
            </a:xfrm>
            <a:solidFill>
              <a:schemeClr val="bg1"/>
            </a:solidFill>
          </p:grpSpPr>
          <p:sp>
            <p:nvSpPr>
              <p:cNvPr id="15" name="Oval 15">
                <a:extLst>
                  <a:ext uri="{FF2B5EF4-FFF2-40B4-BE49-F238E27FC236}">
                    <a16:creationId xmlns:a16="http://schemas.microsoft.com/office/drawing/2014/main" id="{D24C69A7-1A3A-BB89-AC82-EA9138E37B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3025" y="5543873"/>
                <a:ext cx="290407" cy="290407"/>
              </a:xfrm>
              <a:prstGeom prst="ellipse">
                <a:avLst/>
              </a:prstGeom>
              <a:solidFill>
                <a:srgbClr val="44444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800">
                  <a:solidFill>
                    <a:srgbClr val="36396E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16" name="Group 16">
                <a:extLst>
                  <a:ext uri="{FF2B5EF4-FFF2-40B4-BE49-F238E27FC236}">
                    <a16:creationId xmlns:a16="http://schemas.microsoft.com/office/drawing/2014/main" id="{E990059C-9D77-C890-72AC-D8DAE67080D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726440" y="5588961"/>
                <a:ext cx="104062" cy="180353"/>
                <a:chOff x="4441" y="3117"/>
                <a:chExt cx="215" cy="372"/>
              </a:xfrm>
              <a:grpFill/>
            </p:grpSpPr>
            <p:sp>
              <p:nvSpPr>
                <p:cNvPr id="17" name="Freeform 17">
                  <a:extLst>
                    <a:ext uri="{FF2B5EF4-FFF2-40B4-BE49-F238E27FC236}">
                      <a16:creationId xmlns:a16="http://schemas.microsoft.com/office/drawing/2014/main" id="{EFBCA0E2-79BA-B209-1D3D-CADD3C9578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74" y="3117"/>
                  <a:ext cx="149" cy="253"/>
                </a:xfrm>
                <a:custGeom>
                  <a:avLst/>
                  <a:gdLst>
                    <a:gd name="T0" fmla="*/ 31 w 63"/>
                    <a:gd name="T1" fmla="*/ 107 h 107"/>
                    <a:gd name="T2" fmla="*/ 63 w 63"/>
                    <a:gd name="T3" fmla="*/ 78 h 107"/>
                    <a:gd name="T4" fmla="*/ 63 w 63"/>
                    <a:gd name="T5" fmla="*/ 29 h 107"/>
                    <a:gd name="T6" fmla="*/ 31 w 63"/>
                    <a:gd name="T7" fmla="*/ 0 h 107"/>
                    <a:gd name="T8" fmla="*/ 0 w 63"/>
                    <a:gd name="T9" fmla="*/ 29 h 107"/>
                    <a:gd name="T10" fmla="*/ 0 w 63"/>
                    <a:gd name="T11" fmla="*/ 78 h 107"/>
                    <a:gd name="T12" fmla="*/ 31 w 63"/>
                    <a:gd name="T13" fmla="*/ 107 h 107"/>
                    <a:gd name="T14" fmla="*/ 10 w 63"/>
                    <a:gd name="T15" fmla="*/ 29 h 107"/>
                    <a:gd name="T16" fmla="*/ 31 w 63"/>
                    <a:gd name="T17" fmla="*/ 10 h 107"/>
                    <a:gd name="T18" fmla="*/ 53 w 63"/>
                    <a:gd name="T19" fmla="*/ 29 h 107"/>
                    <a:gd name="T20" fmla="*/ 53 w 63"/>
                    <a:gd name="T21" fmla="*/ 78 h 107"/>
                    <a:gd name="T22" fmla="*/ 31 w 63"/>
                    <a:gd name="T23" fmla="*/ 97 h 107"/>
                    <a:gd name="T24" fmla="*/ 10 w 63"/>
                    <a:gd name="T25" fmla="*/ 78 h 107"/>
                    <a:gd name="T26" fmla="*/ 10 w 63"/>
                    <a:gd name="T27" fmla="*/ 2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3" h="107">
                      <a:moveTo>
                        <a:pt x="31" y="107"/>
                      </a:moveTo>
                      <a:cubicBezTo>
                        <a:pt x="49" y="107"/>
                        <a:pt x="63" y="94"/>
                        <a:pt x="63" y="78"/>
                      </a:cubicBezTo>
                      <a:cubicBezTo>
                        <a:pt x="63" y="29"/>
                        <a:pt x="63" y="29"/>
                        <a:pt x="63" y="29"/>
                      </a:cubicBezTo>
                      <a:cubicBezTo>
                        <a:pt x="63" y="13"/>
                        <a:pt x="49" y="0"/>
                        <a:pt x="31" y="0"/>
                      </a:cubicBezTo>
                      <a:cubicBezTo>
                        <a:pt x="14" y="0"/>
                        <a:pt x="0" y="13"/>
                        <a:pt x="0" y="29"/>
                      </a:cubicBezTo>
                      <a:cubicBezTo>
                        <a:pt x="0" y="78"/>
                        <a:pt x="0" y="78"/>
                        <a:pt x="0" y="78"/>
                      </a:cubicBezTo>
                      <a:cubicBezTo>
                        <a:pt x="0" y="94"/>
                        <a:pt x="14" y="107"/>
                        <a:pt x="31" y="107"/>
                      </a:cubicBezTo>
                      <a:close/>
                      <a:moveTo>
                        <a:pt x="10" y="29"/>
                      </a:moveTo>
                      <a:cubicBezTo>
                        <a:pt x="10" y="18"/>
                        <a:pt x="19" y="10"/>
                        <a:pt x="31" y="10"/>
                      </a:cubicBezTo>
                      <a:cubicBezTo>
                        <a:pt x="43" y="10"/>
                        <a:pt x="53" y="18"/>
                        <a:pt x="53" y="29"/>
                      </a:cubicBezTo>
                      <a:cubicBezTo>
                        <a:pt x="53" y="78"/>
                        <a:pt x="53" y="78"/>
                        <a:pt x="53" y="78"/>
                      </a:cubicBezTo>
                      <a:cubicBezTo>
                        <a:pt x="53" y="88"/>
                        <a:pt x="43" y="97"/>
                        <a:pt x="31" y="97"/>
                      </a:cubicBezTo>
                      <a:cubicBezTo>
                        <a:pt x="19" y="97"/>
                        <a:pt x="10" y="88"/>
                        <a:pt x="10" y="78"/>
                      </a:cubicBezTo>
                      <a:lnTo>
                        <a:pt x="10" y="29"/>
                      </a:lnTo>
                      <a:close/>
                    </a:path>
                  </a:pathLst>
                </a:custGeom>
                <a:grpFill/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dist"/>
                  <a:endParaRPr lang="zh-CN" altLang="en-US" sz="1600">
                    <a:solidFill>
                      <a:srgbClr val="36396E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18" name="Freeform 18">
                  <a:extLst>
                    <a:ext uri="{FF2B5EF4-FFF2-40B4-BE49-F238E27FC236}">
                      <a16:creationId xmlns:a16="http://schemas.microsoft.com/office/drawing/2014/main" id="{541B752B-6006-B26F-58A0-A1D5A6B80B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41" y="3267"/>
                  <a:ext cx="215" cy="222"/>
                </a:xfrm>
                <a:custGeom>
                  <a:avLst/>
                  <a:gdLst>
                    <a:gd name="T0" fmla="*/ 86 w 91"/>
                    <a:gd name="T1" fmla="*/ 0 h 94"/>
                    <a:gd name="T2" fmla="*/ 81 w 91"/>
                    <a:gd name="T3" fmla="*/ 5 h 94"/>
                    <a:gd name="T4" fmla="*/ 81 w 91"/>
                    <a:gd name="T5" fmla="*/ 28 h 94"/>
                    <a:gd name="T6" fmla="*/ 45 w 91"/>
                    <a:gd name="T7" fmla="*/ 59 h 94"/>
                    <a:gd name="T8" fmla="*/ 10 w 91"/>
                    <a:gd name="T9" fmla="*/ 28 h 94"/>
                    <a:gd name="T10" fmla="*/ 10 w 91"/>
                    <a:gd name="T11" fmla="*/ 5 h 94"/>
                    <a:gd name="T12" fmla="*/ 5 w 91"/>
                    <a:gd name="T13" fmla="*/ 0 h 94"/>
                    <a:gd name="T14" fmla="*/ 0 w 91"/>
                    <a:gd name="T15" fmla="*/ 5 h 94"/>
                    <a:gd name="T16" fmla="*/ 0 w 91"/>
                    <a:gd name="T17" fmla="*/ 28 h 94"/>
                    <a:gd name="T18" fmla="*/ 40 w 91"/>
                    <a:gd name="T19" fmla="*/ 69 h 94"/>
                    <a:gd name="T20" fmla="*/ 40 w 91"/>
                    <a:gd name="T21" fmla="*/ 84 h 94"/>
                    <a:gd name="T22" fmla="*/ 20 w 91"/>
                    <a:gd name="T23" fmla="*/ 84 h 94"/>
                    <a:gd name="T24" fmla="*/ 15 w 91"/>
                    <a:gd name="T25" fmla="*/ 89 h 94"/>
                    <a:gd name="T26" fmla="*/ 20 w 91"/>
                    <a:gd name="T27" fmla="*/ 94 h 94"/>
                    <a:gd name="T28" fmla="*/ 70 w 91"/>
                    <a:gd name="T29" fmla="*/ 94 h 94"/>
                    <a:gd name="T30" fmla="*/ 75 w 91"/>
                    <a:gd name="T31" fmla="*/ 89 h 94"/>
                    <a:gd name="T32" fmla="*/ 70 w 91"/>
                    <a:gd name="T33" fmla="*/ 84 h 94"/>
                    <a:gd name="T34" fmla="*/ 50 w 91"/>
                    <a:gd name="T35" fmla="*/ 84 h 94"/>
                    <a:gd name="T36" fmla="*/ 50 w 91"/>
                    <a:gd name="T37" fmla="*/ 69 h 94"/>
                    <a:gd name="T38" fmla="*/ 91 w 91"/>
                    <a:gd name="T39" fmla="*/ 28 h 94"/>
                    <a:gd name="T40" fmla="*/ 91 w 91"/>
                    <a:gd name="T41" fmla="*/ 5 h 94"/>
                    <a:gd name="T42" fmla="*/ 86 w 91"/>
                    <a:gd name="T43" fmla="*/ 0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91" h="94">
                      <a:moveTo>
                        <a:pt x="86" y="0"/>
                      </a:moveTo>
                      <a:cubicBezTo>
                        <a:pt x="83" y="0"/>
                        <a:pt x="81" y="3"/>
                        <a:pt x="81" y="5"/>
                      </a:cubicBezTo>
                      <a:cubicBezTo>
                        <a:pt x="81" y="28"/>
                        <a:pt x="81" y="28"/>
                        <a:pt x="81" y="28"/>
                      </a:cubicBezTo>
                      <a:cubicBezTo>
                        <a:pt x="81" y="45"/>
                        <a:pt x="65" y="59"/>
                        <a:pt x="45" y="59"/>
                      </a:cubicBezTo>
                      <a:cubicBezTo>
                        <a:pt x="26" y="59"/>
                        <a:pt x="10" y="45"/>
                        <a:pt x="10" y="28"/>
                      </a:cubicBezTo>
                      <a:cubicBezTo>
                        <a:pt x="10" y="5"/>
                        <a:pt x="10" y="5"/>
                        <a:pt x="10" y="5"/>
                      </a:cubicBezTo>
                      <a:cubicBezTo>
                        <a:pt x="10" y="2"/>
                        <a:pt x="8" y="0"/>
                        <a:pt x="5" y="0"/>
                      </a:cubicBezTo>
                      <a:cubicBezTo>
                        <a:pt x="2" y="0"/>
                        <a:pt x="0" y="2"/>
                        <a:pt x="0" y="5"/>
                      </a:cubicBezTo>
                      <a:cubicBezTo>
                        <a:pt x="0" y="28"/>
                        <a:pt x="0" y="28"/>
                        <a:pt x="0" y="28"/>
                      </a:cubicBezTo>
                      <a:cubicBezTo>
                        <a:pt x="0" y="49"/>
                        <a:pt x="18" y="67"/>
                        <a:pt x="40" y="69"/>
                      </a:cubicBezTo>
                      <a:cubicBezTo>
                        <a:pt x="40" y="84"/>
                        <a:pt x="40" y="84"/>
                        <a:pt x="40" y="84"/>
                      </a:cubicBezTo>
                      <a:cubicBezTo>
                        <a:pt x="20" y="84"/>
                        <a:pt x="20" y="84"/>
                        <a:pt x="20" y="84"/>
                      </a:cubicBezTo>
                      <a:cubicBezTo>
                        <a:pt x="18" y="84"/>
                        <a:pt x="15" y="86"/>
                        <a:pt x="15" y="89"/>
                      </a:cubicBezTo>
                      <a:cubicBezTo>
                        <a:pt x="15" y="92"/>
                        <a:pt x="18" y="94"/>
                        <a:pt x="20" y="94"/>
                      </a:cubicBezTo>
                      <a:cubicBezTo>
                        <a:pt x="70" y="94"/>
                        <a:pt x="70" y="94"/>
                        <a:pt x="70" y="94"/>
                      </a:cubicBezTo>
                      <a:cubicBezTo>
                        <a:pt x="73" y="94"/>
                        <a:pt x="75" y="92"/>
                        <a:pt x="75" y="89"/>
                      </a:cubicBezTo>
                      <a:cubicBezTo>
                        <a:pt x="75" y="86"/>
                        <a:pt x="73" y="84"/>
                        <a:pt x="70" y="84"/>
                      </a:cubicBezTo>
                      <a:cubicBezTo>
                        <a:pt x="50" y="84"/>
                        <a:pt x="50" y="84"/>
                        <a:pt x="50" y="84"/>
                      </a:cubicBezTo>
                      <a:cubicBezTo>
                        <a:pt x="50" y="69"/>
                        <a:pt x="50" y="69"/>
                        <a:pt x="50" y="69"/>
                      </a:cubicBezTo>
                      <a:cubicBezTo>
                        <a:pt x="73" y="67"/>
                        <a:pt x="91" y="49"/>
                        <a:pt x="91" y="28"/>
                      </a:cubicBezTo>
                      <a:cubicBezTo>
                        <a:pt x="91" y="5"/>
                        <a:pt x="91" y="5"/>
                        <a:pt x="91" y="5"/>
                      </a:cubicBezTo>
                      <a:cubicBezTo>
                        <a:pt x="91" y="3"/>
                        <a:pt x="88" y="0"/>
                        <a:pt x="86" y="0"/>
                      </a:cubicBezTo>
                      <a:close/>
                    </a:path>
                  </a:pathLst>
                </a:custGeom>
                <a:grpFill/>
                <a:ln w="63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dist"/>
                  <a:endParaRPr lang="zh-CN" altLang="en-US" sz="1600">
                    <a:solidFill>
                      <a:srgbClr val="36396E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FDE8A088-3754-D200-620F-132A867A0923}"/>
                </a:ext>
              </a:extLst>
            </p:cNvPr>
            <p:cNvGrpSpPr/>
            <p:nvPr/>
          </p:nvGrpSpPr>
          <p:grpSpPr>
            <a:xfrm>
              <a:off x="4414802" y="4745227"/>
              <a:ext cx="290407" cy="290407"/>
              <a:chOff x="732769" y="5535598"/>
              <a:chExt cx="290407" cy="290407"/>
            </a:xfrm>
            <a:solidFill>
              <a:schemeClr val="bg1"/>
            </a:solidFill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14653F42-AAAF-0290-03E8-801840A17D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2769" y="5535598"/>
                <a:ext cx="290407" cy="290407"/>
              </a:xfrm>
              <a:prstGeom prst="ellipse">
                <a:avLst/>
              </a:prstGeom>
              <a:solidFill>
                <a:srgbClr val="444444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800" dirty="0">
                  <a:solidFill>
                    <a:srgbClr val="36396E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12" name="组合 11">
                <a:extLst>
                  <a:ext uri="{FF2B5EF4-FFF2-40B4-BE49-F238E27FC236}">
                    <a16:creationId xmlns:a16="http://schemas.microsoft.com/office/drawing/2014/main" id="{5CF5451D-3AF5-2785-EBEC-7ACA65483759}"/>
                  </a:ext>
                </a:extLst>
              </p:cNvPr>
              <p:cNvGrpSpPr/>
              <p:nvPr/>
            </p:nvGrpSpPr>
            <p:grpSpPr>
              <a:xfrm>
                <a:off x="811795" y="5598991"/>
                <a:ext cx="132841" cy="151011"/>
                <a:chOff x="860980" y="3583766"/>
                <a:chExt cx="100336" cy="114060"/>
              </a:xfrm>
              <a:grpFill/>
            </p:grpSpPr>
            <p:sp>
              <p:nvSpPr>
                <p:cNvPr id="13" name="Freeform 12">
                  <a:extLst>
                    <a:ext uri="{FF2B5EF4-FFF2-40B4-BE49-F238E27FC236}">
                      <a16:creationId xmlns:a16="http://schemas.microsoft.com/office/drawing/2014/main" id="{95C5404B-EB60-FFFA-B48A-559A0B7A06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84050" y="3583766"/>
                  <a:ext cx="53830" cy="53740"/>
                </a:xfrm>
                <a:custGeom>
                  <a:avLst/>
                  <a:gdLst>
                    <a:gd name="T0" fmla="*/ 31 w 62"/>
                    <a:gd name="T1" fmla="*/ 62 h 62"/>
                    <a:gd name="T2" fmla="*/ 0 w 62"/>
                    <a:gd name="T3" fmla="*/ 31 h 62"/>
                    <a:gd name="T4" fmla="*/ 31 w 62"/>
                    <a:gd name="T5" fmla="*/ 0 h 62"/>
                    <a:gd name="T6" fmla="*/ 62 w 62"/>
                    <a:gd name="T7" fmla="*/ 31 h 62"/>
                    <a:gd name="T8" fmla="*/ 31 w 62"/>
                    <a:gd name="T9" fmla="*/ 62 h 62"/>
                    <a:gd name="T10" fmla="*/ 31 w 62"/>
                    <a:gd name="T11" fmla="*/ 11 h 62"/>
                    <a:gd name="T12" fmla="*/ 11 w 62"/>
                    <a:gd name="T13" fmla="*/ 31 h 62"/>
                    <a:gd name="T14" fmla="*/ 31 w 62"/>
                    <a:gd name="T15" fmla="*/ 51 h 62"/>
                    <a:gd name="T16" fmla="*/ 51 w 62"/>
                    <a:gd name="T17" fmla="*/ 31 h 62"/>
                    <a:gd name="T18" fmla="*/ 31 w 62"/>
                    <a:gd name="T19" fmla="*/ 11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62" h="62">
                      <a:moveTo>
                        <a:pt x="31" y="62"/>
                      </a:moveTo>
                      <a:cubicBezTo>
                        <a:pt x="14" y="62"/>
                        <a:pt x="0" y="48"/>
                        <a:pt x="0" y="31"/>
                      </a:cubicBezTo>
                      <a:cubicBezTo>
                        <a:pt x="0" y="14"/>
                        <a:pt x="14" y="0"/>
                        <a:pt x="31" y="0"/>
                      </a:cubicBezTo>
                      <a:cubicBezTo>
                        <a:pt x="48" y="0"/>
                        <a:pt x="62" y="14"/>
                        <a:pt x="62" y="31"/>
                      </a:cubicBezTo>
                      <a:cubicBezTo>
                        <a:pt x="62" y="48"/>
                        <a:pt x="48" y="62"/>
                        <a:pt x="31" y="62"/>
                      </a:cubicBezTo>
                      <a:close/>
                      <a:moveTo>
                        <a:pt x="31" y="11"/>
                      </a:moveTo>
                      <a:cubicBezTo>
                        <a:pt x="20" y="11"/>
                        <a:pt x="11" y="20"/>
                        <a:pt x="11" y="31"/>
                      </a:cubicBezTo>
                      <a:cubicBezTo>
                        <a:pt x="11" y="42"/>
                        <a:pt x="20" y="51"/>
                        <a:pt x="31" y="51"/>
                      </a:cubicBezTo>
                      <a:cubicBezTo>
                        <a:pt x="42" y="51"/>
                        <a:pt x="51" y="42"/>
                        <a:pt x="51" y="31"/>
                      </a:cubicBezTo>
                      <a:cubicBezTo>
                        <a:pt x="51" y="20"/>
                        <a:pt x="42" y="11"/>
                        <a:pt x="31" y="11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dist"/>
                  <a:endParaRPr lang="zh-CN" altLang="en-US" sz="1600">
                    <a:solidFill>
                      <a:srgbClr val="36396E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14" name="Freeform 13">
                  <a:extLst>
                    <a:ext uri="{FF2B5EF4-FFF2-40B4-BE49-F238E27FC236}">
                      <a16:creationId xmlns:a16="http://schemas.microsoft.com/office/drawing/2014/main" id="{0D04B8A4-DF10-00A4-1EA1-64B43F7A25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60980" y="3643355"/>
                  <a:ext cx="100336" cy="54471"/>
                </a:xfrm>
                <a:custGeom>
                  <a:avLst/>
                  <a:gdLst>
                    <a:gd name="T0" fmla="*/ 111 w 116"/>
                    <a:gd name="T1" fmla="*/ 63 h 63"/>
                    <a:gd name="T2" fmla="*/ 105 w 116"/>
                    <a:gd name="T3" fmla="*/ 58 h 63"/>
                    <a:gd name="T4" fmla="*/ 58 w 116"/>
                    <a:gd name="T5" fmla="*/ 11 h 63"/>
                    <a:gd name="T6" fmla="*/ 11 w 116"/>
                    <a:gd name="T7" fmla="*/ 58 h 63"/>
                    <a:gd name="T8" fmla="*/ 6 w 116"/>
                    <a:gd name="T9" fmla="*/ 63 h 63"/>
                    <a:gd name="T10" fmla="*/ 0 w 116"/>
                    <a:gd name="T11" fmla="*/ 58 h 63"/>
                    <a:gd name="T12" fmla="*/ 58 w 116"/>
                    <a:gd name="T13" fmla="*/ 0 h 63"/>
                    <a:gd name="T14" fmla="*/ 116 w 116"/>
                    <a:gd name="T15" fmla="*/ 58 h 63"/>
                    <a:gd name="T16" fmla="*/ 111 w 116"/>
                    <a:gd name="T17" fmla="*/ 63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6" h="63">
                      <a:moveTo>
                        <a:pt x="111" y="63"/>
                      </a:moveTo>
                      <a:cubicBezTo>
                        <a:pt x="108" y="63"/>
                        <a:pt x="105" y="61"/>
                        <a:pt x="105" y="58"/>
                      </a:cubicBezTo>
                      <a:cubicBezTo>
                        <a:pt x="105" y="32"/>
                        <a:pt x="84" y="11"/>
                        <a:pt x="58" y="11"/>
                      </a:cubicBezTo>
                      <a:cubicBezTo>
                        <a:pt x="32" y="11"/>
                        <a:pt x="11" y="32"/>
                        <a:pt x="11" y="58"/>
                      </a:cubicBezTo>
                      <a:cubicBezTo>
                        <a:pt x="11" y="61"/>
                        <a:pt x="9" y="63"/>
                        <a:pt x="6" y="63"/>
                      </a:cubicBezTo>
                      <a:cubicBezTo>
                        <a:pt x="3" y="63"/>
                        <a:pt x="0" y="61"/>
                        <a:pt x="0" y="58"/>
                      </a:cubicBezTo>
                      <a:cubicBezTo>
                        <a:pt x="0" y="26"/>
                        <a:pt x="26" y="0"/>
                        <a:pt x="58" y="0"/>
                      </a:cubicBezTo>
                      <a:cubicBezTo>
                        <a:pt x="90" y="0"/>
                        <a:pt x="116" y="26"/>
                        <a:pt x="116" y="58"/>
                      </a:cubicBezTo>
                      <a:cubicBezTo>
                        <a:pt x="116" y="61"/>
                        <a:pt x="114" y="63"/>
                        <a:pt x="111" y="63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dist"/>
                  <a:endParaRPr lang="zh-CN" altLang="en-US" sz="1600">
                    <a:solidFill>
                      <a:srgbClr val="36396E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9" name="Text Box 20">
              <a:extLst>
                <a:ext uri="{FF2B5EF4-FFF2-40B4-BE49-F238E27FC236}">
                  <a16:creationId xmlns:a16="http://schemas.microsoft.com/office/drawing/2014/main" id="{2ACDCC2C-7B4A-A4D4-3BA2-EA621319FA05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6945103" y="4751931"/>
              <a:ext cx="1204176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400" dirty="0">
                  <a:solidFill>
                    <a:srgbClr val="36396E"/>
                  </a:solidFill>
                  <a:cs typeface="+mn-ea"/>
                  <a:sym typeface="+mn-lt"/>
                </a:rPr>
                <a:t>XX.XX.20XX</a:t>
              </a:r>
              <a:endParaRPr lang="zh-CN" altLang="en-US" sz="1400" dirty="0">
                <a:solidFill>
                  <a:srgbClr val="36396E"/>
                </a:solidFill>
                <a:cs typeface="+mn-ea"/>
                <a:sym typeface="+mn-lt"/>
              </a:endParaRP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66B07AC6-55AC-D6C9-AAC1-2F3A6F00DAE5}"/>
                </a:ext>
              </a:extLst>
            </p:cNvPr>
            <p:cNvSpPr/>
            <p:nvPr/>
          </p:nvSpPr>
          <p:spPr>
            <a:xfrm>
              <a:off x="4705028" y="4751931"/>
              <a:ext cx="1994457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sz="1400" dirty="0">
                  <a:solidFill>
                    <a:srgbClr val="36396E"/>
                  </a:solidFill>
                  <a:cs typeface="+mn-ea"/>
                  <a:sym typeface="+mn-lt"/>
                </a:rPr>
                <a:t>Report </a:t>
              </a:r>
              <a:r>
                <a:rPr lang="zh-CN" altLang="en-US" sz="1400" dirty="0">
                  <a:solidFill>
                    <a:srgbClr val="36396E"/>
                  </a:solidFill>
                  <a:cs typeface="+mn-ea"/>
                  <a:sym typeface="+mn-lt"/>
                </a:rPr>
                <a:t>：</a:t>
              </a:r>
              <a:r>
                <a:rPr lang="en-US" altLang="zh-CN" sz="1400" dirty="0">
                  <a:solidFill>
                    <a:srgbClr val="36396E"/>
                  </a:solidFill>
                  <a:cs typeface="+mn-ea"/>
                  <a:sym typeface="+mn-lt"/>
                </a:rPr>
                <a:t>freeppt7.com</a:t>
              </a:r>
              <a:endParaRPr lang="zh-CN" altLang="en-US" sz="1400" dirty="0">
                <a:solidFill>
                  <a:srgbClr val="36396E"/>
                </a:solidFill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0" presetClass="entr" presetSubtype="0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56E43E27-F1B0-02E8-1946-73FF63AFFE33}"/>
              </a:ext>
            </a:extLst>
          </p:cNvPr>
          <p:cNvGrpSpPr/>
          <p:nvPr/>
        </p:nvGrpSpPr>
        <p:grpSpPr>
          <a:xfrm>
            <a:off x="1244943" y="758258"/>
            <a:ext cx="6654113" cy="2693136"/>
            <a:chOff x="1659925" y="1622451"/>
            <a:chExt cx="8872151" cy="3590848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0D85D155-BED2-ACEB-3769-8DCFF91CDB3A}"/>
                </a:ext>
              </a:extLst>
            </p:cNvPr>
            <p:cNvSpPr txBox="1"/>
            <p:nvPr/>
          </p:nvSpPr>
          <p:spPr>
            <a:xfrm>
              <a:off x="1659925" y="1622451"/>
              <a:ext cx="8872151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 defTabSz="685800">
                <a:defRPr/>
              </a:pPr>
              <a:r>
                <a:rPr lang="en-US" sz="1200" dirty="0">
                  <a:latin typeface="MS Reference Sans Serif" panose="020B0604030504040204" pitchFamily="34" charset="0"/>
                  <a:cs typeface="Arial" panose="020B0604020202020204" pitchFamily="34" charset="0"/>
                </a:rPr>
                <a:t>We respect your valuable time with </a:t>
              </a:r>
              <a:r>
                <a:rPr lang="en-US" altLang="zh-CN" sz="1200" dirty="0">
                  <a:latin typeface="MS Reference Sans Serif" panose="020B0604030504040204" pitchFamily="34" charset="0"/>
                  <a:cs typeface="Arial" panose="020B0604020202020204" pitchFamily="34" charset="0"/>
                </a:rPr>
                <a:t>freeppt7</a:t>
              </a:r>
              <a:r>
                <a:rPr lang="en-US" sz="1200" dirty="0">
                  <a:latin typeface="MS Reference Sans Serif" panose="020B0604030504040204" pitchFamily="34" charset="0"/>
                  <a:cs typeface="Arial" panose="020B0604020202020204" pitchFamily="34" charset="0"/>
                </a:rPr>
                <a:t>!</a:t>
              </a:r>
            </a:p>
            <a:p>
              <a:pPr algn="ctr" defTabSz="685800">
                <a:defRPr/>
              </a:pPr>
              <a:r>
                <a:rPr lang="en-US" sz="1200" dirty="0">
                  <a:latin typeface="MS Reference Sans Serif" panose="020B0604030504040204" pitchFamily="34" charset="0"/>
                  <a:cs typeface="Arial" panose="020B0604020202020204" pitchFamily="34" charset="0"/>
                </a:rPr>
                <a:t>If you have any questions, please reach us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45DEF97-E3F3-DD1E-C544-B2026124D939}"/>
                </a:ext>
              </a:extLst>
            </p:cNvPr>
            <p:cNvGrpSpPr/>
            <p:nvPr/>
          </p:nvGrpSpPr>
          <p:grpSpPr>
            <a:xfrm>
              <a:off x="4744357" y="2961726"/>
              <a:ext cx="2878228" cy="444237"/>
              <a:chOff x="3649099" y="2657323"/>
              <a:chExt cx="4767227" cy="735794"/>
            </a:xfrm>
          </p:grpSpPr>
          <p:pic>
            <p:nvPicPr>
              <p:cNvPr id="8" name="Picture 4" descr="Facebook icon circle Logo PNG Vector (EPS) Free Download">
                <a:hlinkClick r:id="rId2"/>
                <a:extLst>
                  <a:ext uri="{FF2B5EF4-FFF2-40B4-BE49-F238E27FC236}">
                    <a16:creationId xmlns:a16="http://schemas.microsoft.com/office/drawing/2014/main" id="{602876B6-B1F8-A41A-F81C-A10A3E7EDB9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49099" y="2657323"/>
                <a:ext cx="730592" cy="73059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9" name="Picture 6" descr="Instagram Logo Icon Png #96303 - Free Icons Library">
                <a:hlinkClick r:id="rId4"/>
                <a:extLst>
                  <a:ext uri="{FF2B5EF4-FFF2-40B4-BE49-F238E27FC236}">
                    <a16:creationId xmlns:a16="http://schemas.microsoft.com/office/drawing/2014/main" id="{6041D0AE-538D-F0DF-C0B2-6B86D00F12F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00569" y="2657323"/>
                <a:ext cx="730592" cy="7211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" name="Picture 8" descr="Youtube PNG images free download">
                <a:hlinkClick r:id="rId6"/>
                <a:extLst>
                  <a:ext uri="{FF2B5EF4-FFF2-40B4-BE49-F238E27FC236}">
                    <a16:creationId xmlns:a16="http://schemas.microsoft.com/office/drawing/2014/main" id="{6D36331A-0349-69CC-F35A-C6E152B11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77912" y="2671927"/>
                <a:ext cx="1019843" cy="7211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" name="Picture 10" descr="Download Twitter Logo Png Transparent Background - Logo Twitter Png PNG  Image with No Background - PNGkey.com">
                <a:hlinkClick r:id="rId8"/>
                <a:extLst>
                  <a:ext uri="{FF2B5EF4-FFF2-40B4-BE49-F238E27FC236}">
                    <a16:creationId xmlns:a16="http://schemas.microsoft.com/office/drawing/2014/main" id="{DEFC2ED4-7A85-4B63-AA58-3742E8C4C6F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47455" y="2671928"/>
                <a:ext cx="715988" cy="7159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" name="Picture 12" descr="LinkedIn Logo – Free PNG format download (2022)">
                <a:hlinkClick r:id="rId10"/>
                <a:extLst>
                  <a:ext uri="{FF2B5EF4-FFF2-40B4-BE49-F238E27FC236}">
                    <a16:creationId xmlns:a16="http://schemas.microsoft.com/office/drawing/2014/main" id="{6305F8BE-4A1B-D495-8890-5153C8455B0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22895" y="2663501"/>
                <a:ext cx="1293431" cy="72755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923B166-2FB1-3537-5651-CEDA59A06144}"/>
                </a:ext>
              </a:extLst>
            </p:cNvPr>
            <p:cNvSpPr/>
            <p:nvPr/>
          </p:nvSpPr>
          <p:spPr>
            <a:xfrm>
              <a:off x="2668858" y="4659302"/>
              <a:ext cx="6854283" cy="553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>
                <a:defRPr/>
              </a:pPr>
              <a:r>
                <a:rPr lang="en-US" sz="1050" b="1" dirty="0">
                  <a:latin typeface="MS Reference Sans Serif" panose="020B0604030504040204" pitchFamily="34" charset="0"/>
                  <a:cs typeface="Arial" panose="020B0604020202020204" pitchFamily="34" charset="0"/>
                </a:rPr>
                <a:t>CREDIT:</a:t>
              </a:r>
              <a:r>
                <a:rPr lang="en-US" sz="1050" dirty="0">
                  <a:latin typeface="MS Reference Sans Serif" panose="020B0604030504040204" pitchFamily="34" charset="0"/>
                  <a:cs typeface="Arial" panose="020B0604020202020204" pitchFamily="34" charset="0"/>
                </a:rPr>
                <a:t> Freeppt7.com created this PowerPoint template.</a:t>
              </a:r>
            </a:p>
            <a:p>
              <a:pPr algn="ctr" defTabSz="685800">
                <a:defRPr/>
              </a:pPr>
              <a:r>
                <a:rPr lang="en-US" sz="1050" dirty="0">
                  <a:latin typeface="MS Reference Sans Serif" panose="020B0604030504040204" pitchFamily="34" charset="0"/>
                  <a:cs typeface="Arial" panose="020B0604020202020204" pitchFamily="34" charset="0"/>
                </a:rPr>
                <a:t>Let this slide be kept for attribution.</a:t>
              </a: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9CD92F99-F9BB-4F0B-8C48-7B2315895202}"/>
                </a:ext>
              </a:extLst>
            </p:cNvPr>
            <p:cNvSpPr/>
            <p:nvPr/>
          </p:nvSpPr>
          <p:spPr>
            <a:xfrm>
              <a:off x="2129246" y="4098910"/>
              <a:ext cx="8255726" cy="3309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>
                <a:defRPr/>
              </a:pPr>
              <a:r>
                <a:rPr lang="en-US" sz="1013" dirty="0">
                  <a:latin typeface="MS Reference Sans Serif" panose="020B0604030504040204" pitchFamily="34" charset="0"/>
                  <a:cs typeface="Arial" panose="020B0604020202020204" pitchFamily="34" charset="0"/>
                </a:rPr>
                <a:t>Do you have a design request, please visit our </a:t>
              </a:r>
              <a:r>
                <a:rPr lang="en-US" sz="1013" b="1" u="sng" dirty="0">
                  <a:latin typeface="MS Reference Sans Serif" panose="020B0604030504040204" pitchFamily="34" charset="0"/>
                  <a:cs typeface="Arial" panose="020B0604020202020204" pitchFamily="34" charset="0"/>
                  <a:hlinkClick r:id="rId12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redesign</a:t>
              </a:r>
              <a:r>
                <a:rPr lang="en-US" sz="1013" dirty="0">
                  <a:latin typeface="MS Reference Sans Serif" panose="020B0604030504040204" pitchFamily="34" charset="0"/>
                  <a:cs typeface="Arial" panose="020B0604020202020204" pitchFamily="34" charset="0"/>
                </a:rPr>
                <a:t> page.</a:t>
              </a:r>
            </a:p>
          </p:txBody>
        </p:sp>
      </p:grpSp>
      <p:sp>
        <p:nvSpPr>
          <p:cNvPr id="13" name="TextBox 3">
            <a:hlinkClick r:id="rId13"/>
            <a:extLst>
              <a:ext uri="{FF2B5EF4-FFF2-40B4-BE49-F238E27FC236}">
                <a16:creationId xmlns:a16="http://schemas.microsoft.com/office/drawing/2014/main" id="{BD3C2092-DA25-3AA4-C25B-983997217607}"/>
              </a:ext>
            </a:extLst>
          </p:cNvPr>
          <p:cNvSpPr txBox="1"/>
          <p:nvPr/>
        </p:nvSpPr>
        <p:spPr>
          <a:xfrm>
            <a:off x="2754225" y="3828348"/>
            <a:ext cx="38772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800" dirty="0">
                <a:cs typeface="Arial" panose="020B0604020202020204" pitchFamily="34" charset="0"/>
                <a:hlinkClick r:id="rId1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freeppt7.com</a:t>
            </a:r>
            <a:endParaRPr lang="ko-KR" altLang="en-US" sz="18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29658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38646"/>
            <a:ext cx="9144000" cy="5144038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735" y="289649"/>
            <a:ext cx="9144000" cy="5144038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652084" y="-38646"/>
            <a:ext cx="1491916" cy="1049299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2042667"/>
            <a:ext cx="9144000" cy="3078298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801430"/>
            <a:ext cx="9144000" cy="3303660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2180" y="673218"/>
            <a:ext cx="4739639" cy="186015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3796337" y="987742"/>
            <a:ext cx="2540686" cy="12311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defTabSz="68516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4000" b="1" dirty="0">
                <a:solidFill>
                  <a:schemeClr val="accent2"/>
                </a:solidFill>
                <a:cs typeface="+mn-ea"/>
                <a:sym typeface="+mn-lt"/>
              </a:rPr>
              <a:t>Teaching</a:t>
            </a:r>
          </a:p>
          <a:p>
            <a:pPr defTabSz="68516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4000" b="1" dirty="0">
                <a:solidFill>
                  <a:schemeClr val="accent2"/>
                </a:solidFill>
                <a:cs typeface="+mn-ea"/>
                <a:sym typeface="+mn-lt"/>
              </a:rPr>
              <a:t>Analysis</a:t>
            </a:r>
            <a:endParaRPr lang="zh-CN" altLang="en-US" sz="4000" b="1" dirty="0">
              <a:solidFill>
                <a:schemeClr val="accent2"/>
              </a:solidFill>
              <a:cs typeface="+mn-ea"/>
              <a:sym typeface="+mn-lt"/>
            </a:endParaRP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899610" y="1284908"/>
            <a:ext cx="733926" cy="589547"/>
          </a:xfrm>
          <a:prstGeom prst="rect">
            <a:avLst/>
          </a:prstGeom>
        </p:spPr>
      </p:pic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56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40" dur="3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41" dur="3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42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43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31"/>
          <p:cNvSpPr txBox="1"/>
          <p:nvPr/>
        </p:nvSpPr>
        <p:spPr>
          <a:xfrm>
            <a:off x="1849018" y="127809"/>
            <a:ext cx="5208588" cy="5847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/>
          <a:p>
            <a:pPr lvl="0" algn="ctr" eaLnBrk="1" hangingPunct="1"/>
            <a:r>
              <a:rPr lang="en-US" altLang="zh-CN" sz="3200" b="1">
                <a:solidFill>
                  <a:schemeClr val="accent2"/>
                </a:solidFill>
                <a:cs typeface="+mn-ea"/>
                <a:sym typeface="+mn-lt"/>
              </a:rPr>
              <a:t>Course Analysis</a:t>
            </a:r>
            <a:endParaRPr lang="zh-CN" altLang="en-US" sz="3200" b="1" dirty="0">
              <a:solidFill>
                <a:schemeClr val="accent2"/>
              </a:solidFill>
              <a:cs typeface="+mn-ea"/>
              <a:sym typeface="+mn-lt"/>
            </a:endParaRPr>
          </a:p>
        </p:txBody>
      </p:sp>
      <p:grpSp>
        <p:nvGrpSpPr>
          <p:cNvPr id="20" name="组合 19"/>
          <p:cNvGrpSpPr/>
          <p:nvPr/>
        </p:nvGrpSpPr>
        <p:grpSpPr>
          <a:xfrm>
            <a:off x="3615570" y="1495456"/>
            <a:ext cx="3818890" cy="654149"/>
            <a:chOff x="6723969" y="2930779"/>
            <a:chExt cx="3818890" cy="654149"/>
          </a:xfrm>
        </p:grpSpPr>
        <p:sp>
          <p:nvSpPr>
            <p:cNvPr id="18" name="矩形 17"/>
            <p:cNvSpPr/>
            <p:nvPr/>
          </p:nvSpPr>
          <p:spPr>
            <a:xfrm>
              <a:off x="6723969" y="3285744"/>
              <a:ext cx="3818890" cy="299184"/>
            </a:xfrm>
            <a:prstGeom prst="rect">
              <a:avLst/>
            </a:prstGeom>
          </p:spPr>
          <p:txBody>
            <a:bodyPr wrap="square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just">
                <a:lnSpc>
                  <a:spcPct val="120000"/>
                </a:lnSpc>
              </a:pPr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9" name="矩形 18"/>
            <p:cNvSpPr/>
            <p:nvPr/>
          </p:nvSpPr>
          <p:spPr>
            <a:xfrm>
              <a:off x="6723970" y="2930779"/>
              <a:ext cx="2241974" cy="298736"/>
            </a:xfrm>
            <a:prstGeom prst="rect">
              <a:avLst/>
            </a:prstGeom>
          </p:spPr>
          <p:txBody>
            <a:bodyPr wrap="square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just">
                <a:lnSpc>
                  <a:spcPct val="120000"/>
                </a:lnSpc>
              </a:pPr>
              <a:r>
                <a:rPr lang="en-US" altLang="zh-CN" sz="1200" b="1" dirty="0">
                  <a:solidFill>
                    <a:srgbClr val="9D6BAB"/>
                  </a:solidFill>
                  <a:cs typeface="+mn-ea"/>
                  <a:sym typeface="+mn-lt"/>
                </a:rPr>
                <a:t>Add title text</a:t>
              </a:r>
              <a:endParaRPr lang="zh-CN" altLang="en-US" sz="1200" b="1" dirty="0">
                <a:solidFill>
                  <a:srgbClr val="9D6BAB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3" name="组合 32"/>
          <p:cNvGrpSpPr/>
          <p:nvPr/>
        </p:nvGrpSpPr>
        <p:grpSpPr>
          <a:xfrm>
            <a:off x="3615570" y="2370778"/>
            <a:ext cx="3818890" cy="611604"/>
            <a:chOff x="6723969" y="2930779"/>
            <a:chExt cx="3818890" cy="611604"/>
          </a:xfrm>
        </p:grpSpPr>
        <p:sp>
          <p:nvSpPr>
            <p:cNvPr id="34" name="矩形 33"/>
            <p:cNvSpPr/>
            <p:nvPr/>
          </p:nvSpPr>
          <p:spPr>
            <a:xfrm>
              <a:off x="6723969" y="3243199"/>
              <a:ext cx="3818890" cy="299184"/>
            </a:xfrm>
            <a:prstGeom prst="rect">
              <a:avLst/>
            </a:prstGeom>
          </p:spPr>
          <p:txBody>
            <a:bodyPr wrap="square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just">
                <a:lnSpc>
                  <a:spcPct val="120000"/>
                </a:lnSpc>
              </a:pPr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5" name="矩形 34"/>
            <p:cNvSpPr/>
            <p:nvPr/>
          </p:nvSpPr>
          <p:spPr>
            <a:xfrm>
              <a:off x="6723970" y="2930779"/>
              <a:ext cx="2241974" cy="298736"/>
            </a:xfrm>
            <a:prstGeom prst="rect">
              <a:avLst/>
            </a:prstGeom>
          </p:spPr>
          <p:txBody>
            <a:bodyPr wrap="square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just">
                <a:lnSpc>
                  <a:spcPct val="120000"/>
                </a:lnSpc>
              </a:pPr>
              <a:r>
                <a:rPr lang="en-US" altLang="zh-CN" sz="1200" b="1" dirty="0">
                  <a:solidFill>
                    <a:srgbClr val="9D6BAB"/>
                  </a:solidFill>
                  <a:cs typeface="+mn-ea"/>
                  <a:sym typeface="+mn-lt"/>
                </a:rPr>
                <a:t>Add title text</a:t>
              </a:r>
              <a:endParaRPr lang="zh-CN" altLang="en-US" sz="1200" b="1" dirty="0">
                <a:solidFill>
                  <a:srgbClr val="9D6BAB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6" name="组合 35"/>
          <p:cNvGrpSpPr/>
          <p:nvPr/>
        </p:nvGrpSpPr>
        <p:grpSpPr>
          <a:xfrm>
            <a:off x="3615570" y="3246100"/>
            <a:ext cx="3818890" cy="654149"/>
            <a:chOff x="6723969" y="2930779"/>
            <a:chExt cx="3818890" cy="654149"/>
          </a:xfrm>
        </p:grpSpPr>
        <p:sp>
          <p:nvSpPr>
            <p:cNvPr id="37" name="矩形 36"/>
            <p:cNvSpPr/>
            <p:nvPr/>
          </p:nvSpPr>
          <p:spPr>
            <a:xfrm>
              <a:off x="6723969" y="3285744"/>
              <a:ext cx="3818890" cy="299184"/>
            </a:xfrm>
            <a:prstGeom prst="rect">
              <a:avLst/>
            </a:prstGeom>
          </p:spPr>
          <p:txBody>
            <a:bodyPr wrap="square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just">
                <a:lnSpc>
                  <a:spcPct val="120000"/>
                </a:lnSpc>
              </a:pPr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38" name="矩形 37"/>
            <p:cNvSpPr/>
            <p:nvPr/>
          </p:nvSpPr>
          <p:spPr>
            <a:xfrm>
              <a:off x="6723970" y="2930779"/>
              <a:ext cx="2241974" cy="298736"/>
            </a:xfrm>
            <a:prstGeom prst="rect">
              <a:avLst/>
            </a:prstGeom>
          </p:spPr>
          <p:txBody>
            <a:bodyPr wrap="square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just">
                <a:lnSpc>
                  <a:spcPct val="120000"/>
                </a:lnSpc>
              </a:pPr>
              <a:r>
                <a:rPr lang="en-US" altLang="zh-CN" sz="1200" b="1" dirty="0">
                  <a:solidFill>
                    <a:srgbClr val="9D6BAB"/>
                  </a:solidFill>
                  <a:cs typeface="+mn-ea"/>
                  <a:sym typeface="+mn-lt"/>
                </a:rPr>
                <a:t>Add title text</a:t>
              </a:r>
              <a:endParaRPr lang="zh-CN" altLang="en-US" sz="1200" b="1" dirty="0">
                <a:solidFill>
                  <a:srgbClr val="9D6BAB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3" name="组合 2"/>
          <p:cNvGrpSpPr/>
          <p:nvPr/>
        </p:nvGrpSpPr>
        <p:grpSpPr>
          <a:xfrm>
            <a:off x="539750" y="1569085"/>
            <a:ext cx="2670810" cy="2649220"/>
            <a:chOff x="850" y="2471"/>
            <a:chExt cx="4206" cy="4172"/>
          </a:xfrm>
        </p:grpSpPr>
        <p:grpSp>
          <p:nvGrpSpPr>
            <p:cNvPr id="12" name="组合 11"/>
            <p:cNvGrpSpPr/>
            <p:nvPr/>
          </p:nvGrpSpPr>
          <p:grpSpPr>
            <a:xfrm>
              <a:off x="850" y="2471"/>
              <a:ext cx="4207" cy="4172"/>
              <a:chOff x="1081089" y="1878807"/>
              <a:chExt cx="2849561" cy="2146697"/>
            </a:xfrm>
          </p:grpSpPr>
          <p:sp>
            <p:nvSpPr>
              <p:cNvPr id="13" name="MH_SubTitle_5"/>
              <p:cNvSpPr/>
              <p:nvPr>
                <p:custDataLst>
                  <p:tags r:id="rId2"/>
                </p:custDataLst>
              </p:nvPr>
            </p:nvSpPr>
            <p:spPr bwMode="auto">
              <a:xfrm rot="-4481425">
                <a:off x="1377355" y="2054027"/>
                <a:ext cx="1044179" cy="1636712"/>
              </a:xfrm>
              <a:custGeom>
                <a:avLst/>
                <a:gdLst>
                  <a:gd name="T0" fmla="*/ 1393759 w 1391478"/>
                  <a:gd name="T1" fmla="*/ 636723 h 1635995"/>
                  <a:gd name="T2" fmla="*/ 1347971 w 1391478"/>
                  <a:gd name="T3" fmla="*/ 630767 h 1635995"/>
                  <a:gd name="T4" fmla="*/ 747623 w 1391478"/>
                  <a:gd name="T5" fmla="*/ 756571 h 1635995"/>
                  <a:gd name="T6" fmla="*/ 740379 w 1391478"/>
                  <a:gd name="T7" fmla="*/ 760959 h 1635995"/>
                  <a:gd name="T8" fmla="*/ 740380 w 1391478"/>
                  <a:gd name="T9" fmla="*/ 760960 h 1635995"/>
                  <a:gd name="T10" fmla="*/ 657566 w 1391478"/>
                  <a:gd name="T11" fmla="*/ 811110 h 1635995"/>
                  <a:gd name="T12" fmla="*/ 419739 w 1391478"/>
                  <a:gd name="T13" fmla="*/ 1030594 h 1635995"/>
                  <a:gd name="T14" fmla="*/ 409948 w 1391478"/>
                  <a:gd name="T15" fmla="*/ 1044168 h 1635995"/>
                  <a:gd name="T16" fmla="*/ 355290 w 1391478"/>
                  <a:gd name="T17" fmla="*/ 1119929 h 1635995"/>
                  <a:gd name="T18" fmla="*/ 187053 w 1391478"/>
                  <a:gd name="T19" fmla="*/ 1614977 h 1635995"/>
                  <a:gd name="T20" fmla="*/ 186285 w 1391478"/>
                  <a:gd name="T21" fmla="*/ 1638147 h 1635995"/>
                  <a:gd name="T22" fmla="*/ 183949 w 1391478"/>
                  <a:gd name="T23" fmla="*/ 1635039 h 1635995"/>
                  <a:gd name="T24" fmla="*/ 22790 w 1391478"/>
                  <a:gd name="T25" fmla="*/ 1253223 h 1635995"/>
                  <a:gd name="T26" fmla="*/ 19935 w 1391478"/>
                  <a:gd name="T27" fmla="*/ 1235279 h 1635995"/>
                  <a:gd name="T28" fmla="*/ 6559 w 1391478"/>
                  <a:gd name="T29" fmla="*/ 1151262 h 1635995"/>
                  <a:gd name="T30" fmla="*/ 73939 w 1391478"/>
                  <a:gd name="T31" fmla="*/ 640430 h 1635995"/>
                  <a:gd name="T32" fmla="*/ 103134 w 1391478"/>
                  <a:gd name="T33" fmla="*/ 575701 h 1635995"/>
                  <a:gd name="T34" fmla="*/ 117713 w 1391478"/>
                  <a:gd name="T35" fmla="*/ 543379 h 1635995"/>
                  <a:gd name="T36" fmla="*/ 236234 w 1391478"/>
                  <a:gd name="T37" fmla="*/ 360473 h 1635995"/>
                  <a:gd name="T38" fmla="*/ 755849 w 1391478"/>
                  <a:gd name="T39" fmla="*/ 5813 h 1635995"/>
                  <a:gd name="T40" fmla="*/ 778298 w 1391478"/>
                  <a:gd name="T41" fmla="*/ 0 h 1635995"/>
                  <a:gd name="T42" fmla="*/ 871836 w 1391478"/>
                  <a:gd name="T43" fmla="*/ 42160 h 1635995"/>
                  <a:gd name="T44" fmla="*/ 1054800 w 1391478"/>
                  <a:gd name="T45" fmla="*/ 160642 h 1635995"/>
                  <a:gd name="T46" fmla="*/ 1374014 w 1391478"/>
                  <a:gd name="T47" fmla="*/ 582575 h 163599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391478"/>
                  <a:gd name="T73" fmla="*/ 0 h 1635995"/>
                  <a:gd name="T74" fmla="*/ 1391478 w 1391478"/>
                  <a:gd name="T75" fmla="*/ 1635995 h 163599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391478" h="1635995">
                    <a:moveTo>
                      <a:pt x="1391478" y="635886"/>
                    </a:moveTo>
                    <a:lnTo>
                      <a:pt x="1345765" y="629939"/>
                    </a:lnTo>
                    <a:cubicBezTo>
                      <a:pt x="1139491" y="613169"/>
                      <a:pt x="930592" y="656056"/>
                      <a:pt x="746399" y="755578"/>
                    </a:cubicBezTo>
                    <a:lnTo>
                      <a:pt x="739167" y="759960"/>
                    </a:lnTo>
                    <a:lnTo>
                      <a:pt x="739168" y="759961"/>
                    </a:lnTo>
                    <a:lnTo>
                      <a:pt x="656489" y="810045"/>
                    </a:lnTo>
                    <a:cubicBezTo>
                      <a:pt x="568889" y="869204"/>
                      <a:pt x="488604" y="942395"/>
                      <a:pt x="419052" y="1029241"/>
                    </a:cubicBezTo>
                    <a:cubicBezTo>
                      <a:pt x="415793" y="1033760"/>
                      <a:pt x="412535" y="1038279"/>
                      <a:pt x="409276" y="1042797"/>
                    </a:cubicBezTo>
                    <a:lnTo>
                      <a:pt x="354708" y="1118458"/>
                    </a:lnTo>
                    <a:cubicBezTo>
                      <a:pt x="256126" y="1270890"/>
                      <a:pt x="200722" y="1440961"/>
                      <a:pt x="186747" y="1612856"/>
                    </a:cubicBezTo>
                    <a:lnTo>
                      <a:pt x="185979" y="1635995"/>
                    </a:lnTo>
                    <a:lnTo>
                      <a:pt x="183649" y="1632891"/>
                    </a:lnTo>
                    <a:cubicBezTo>
                      <a:pt x="104772" y="1516091"/>
                      <a:pt x="50842" y="1386287"/>
                      <a:pt x="22754" y="1251576"/>
                    </a:cubicBezTo>
                    <a:lnTo>
                      <a:pt x="19902" y="1233656"/>
                    </a:lnTo>
                    <a:lnTo>
                      <a:pt x="6547" y="1149750"/>
                    </a:lnTo>
                    <a:cubicBezTo>
                      <a:pt x="-12341" y="978928"/>
                      <a:pt x="9501" y="803602"/>
                      <a:pt x="73819" y="639589"/>
                    </a:cubicBezTo>
                    <a:lnTo>
                      <a:pt x="102966" y="574945"/>
                    </a:lnTo>
                    <a:lnTo>
                      <a:pt x="117521" y="542665"/>
                    </a:lnTo>
                    <a:cubicBezTo>
                      <a:pt x="150073" y="479123"/>
                      <a:pt x="189478" y="417896"/>
                      <a:pt x="235847" y="359999"/>
                    </a:cubicBezTo>
                    <a:cubicBezTo>
                      <a:pt x="374954" y="186306"/>
                      <a:pt x="556985" y="67234"/>
                      <a:pt x="754612" y="5804"/>
                    </a:cubicBezTo>
                    <a:lnTo>
                      <a:pt x="777024" y="0"/>
                    </a:lnTo>
                    <a:lnTo>
                      <a:pt x="870409" y="42106"/>
                    </a:lnTo>
                    <a:cubicBezTo>
                      <a:pt x="933950" y="74659"/>
                      <a:pt x="995177" y="114063"/>
                      <a:pt x="1053074" y="160432"/>
                    </a:cubicBezTo>
                    <a:cubicBezTo>
                      <a:pt x="1197818" y="276354"/>
                      <a:pt x="1304632" y="422085"/>
                      <a:pt x="1371765" y="581810"/>
                    </a:cubicBezTo>
                    <a:lnTo>
                      <a:pt x="1391478" y="635886"/>
                    </a:lnTo>
                    <a:close/>
                  </a:path>
                </a:pathLst>
              </a:custGeom>
              <a:solidFill>
                <a:schemeClr val="accent1">
                  <a:alpha val="44000"/>
                </a:schemeClr>
              </a:solidFill>
              <a:ln w="12700">
                <a:solidFill>
                  <a:srgbClr val="FFFFFF"/>
                </a:solidFill>
                <a:miter lim="800000"/>
              </a:ln>
            </p:spPr>
            <p:txBody>
              <a:bodyPr lIns="0" tIns="288000" rIns="0" bIns="0">
                <a:norm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9pPr>
              </a:lstStyle>
              <a:p>
                <a:pPr algn="ctr" eaLnBrk="1" hangingPunct="1">
                  <a:lnSpc>
                    <a:spcPct val="120000"/>
                  </a:lnSpc>
                  <a:spcBef>
                    <a:spcPct val="0"/>
                  </a:spcBef>
                  <a:buFontTx/>
                  <a:buNone/>
                  <a:defRPr/>
                </a:pPr>
                <a:r>
                  <a:rPr lang="en-US" altLang="zh-CN" sz="2000" dirty="0">
                    <a:solidFill>
                      <a:srgbClr val="FFFFFF"/>
                    </a:solidFill>
                    <a:latin typeface="+mn-lt"/>
                    <a:ea typeface="+mn-ea"/>
                    <a:cs typeface="+mn-ea"/>
                    <a:sym typeface="+mn-lt"/>
                  </a:rPr>
                  <a:t>E</a:t>
                </a:r>
              </a:p>
            </p:txBody>
          </p:sp>
          <p:sp>
            <p:nvSpPr>
              <p:cNvPr id="14" name="MH_SubTitle_1"/>
              <p:cNvSpPr/>
              <p:nvPr>
                <p:custDataLst>
                  <p:tags r:id="rId3"/>
                </p:custDataLst>
              </p:nvPr>
            </p:nvSpPr>
            <p:spPr bwMode="auto">
              <a:xfrm>
                <a:off x="1825625" y="1878807"/>
                <a:ext cx="1371600" cy="1245394"/>
              </a:xfrm>
              <a:custGeom>
                <a:avLst/>
                <a:gdLst>
                  <a:gd name="T0" fmla="*/ 724689 w 1372594"/>
                  <a:gd name="T1" fmla="*/ 0 h 1661130"/>
                  <a:gd name="T2" fmla="*/ 746756 w 1372594"/>
                  <a:gd name="T3" fmla="*/ 6844 h 1661130"/>
                  <a:gd name="T4" fmla="*/ 1247234 w 1372594"/>
                  <a:gd name="T5" fmla="*/ 384585 h 1661130"/>
                  <a:gd name="T6" fmla="*/ 1356618 w 1372594"/>
                  <a:gd name="T7" fmla="*/ 572397 h 1661130"/>
                  <a:gd name="T8" fmla="*/ 1369614 w 1372594"/>
                  <a:gd name="T9" fmla="*/ 605289 h 1661130"/>
                  <a:gd name="T10" fmla="*/ 1351615 w 1372594"/>
                  <a:gd name="T11" fmla="*/ 603311 h 1661130"/>
                  <a:gd name="T12" fmla="*/ 747916 w 1372594"/>
                  <a:gd name="T13" fmla="*/ 746301 h 1661130"/>
                  <a:gd name="T14" fmla="*/ 726827 w 1372594"/>
                  <a:gd name="T15" fmla="*/ 760068 h 1661130"/>
                  <a:gd name="T16" fmla="*/ 655978 w 1372594"/>
                  <a:gd name="T17" fmla="*/ 806320 h 1661130"/>
                  <a:gd name="T18" fmla="*/ 426378 w 1372594"/>
                  <a:gd name="T19" fmla="*/ 1032960 h 1661130"/>
                  <a:gd name="T20" fmla="*/ 410131 w 1372594"/>
                  <a:gd name="T21" fmla="*/ 1057168 h 1661130"/>
                  <a:gd name="T22" fmla="*/ 410131 w 1372594"/>
                  <a:gd name="T23" fmla="*/ 1057167 h 1661130"/>
                  <a:gd name="T24" fmla="*/ 367879 w 1372594"/>
                  <a:gd name="T25" fmla="*/ 1120119 h 1661130"/>
                  <a:gd name="T26" fmla="*/ 215996 w 1372594"/>
                  <a:gd name="T27" fmla="*/ 1609116 h 1661130"/>
                  <a:gd name="T28" fmla="*/ 215308 w 1372594"/>
                  <a:gd name="T29" fmla="*/ 1659315 h 1661130"/>
                  <a:gd name="T30" fmla="*/ 204837 w 1372594"/>
                  <a:gd name="T31" fmla="*/ 1646322 h 1661130"/>
                  <a:gd name="T32" fmla="*/ 56433 w 1372594"/>
                  <a:gd name="T33" fmla="*/ 1359748 h 1661130"/>
                  <a:gd name="T34" fmla="*/ 30013 w 1372594"/>
                  <a:gd name="T35" fmla="*/ 1266880 h 1661130"/>
                  <a:gd name="T36" fmla="*/ 30012 w 1372594"/>
                  <a:gd name="T37" fmla="*/ 1266881 h 1661130"/>
                  <a:gd name="T38" fmla="*/ 27702 w 1372594"/>
                  <a:gd name="T39" fmla="*/ 1258757 h 1661130"/>
                  <a:gd name="T40" fmla="*/ 64693 w 1372594"/>
                  <a:gd name="T41" fmla="*/ 648158 h 1661130"/>
                  <a:gd name="T42" fmla="*/ 82460 w 1372594"/>
                  <a:gd name="T43" fmla="*/ 605681 h 1661130"/>
                  <a:gd name="T44" fmla="*/ 104643 w 1372594"/>
                  <a:gd name="T45" fmla="*/ 552649 h 1661130"/>
                  <a:gd name="T46" fmla="*/ 442027 w 1372594"/>
                  <a:gd name="T47" fmla="*/ 147136 h 1661130"/>
                  <a:gd name="T48" fmla="*/ 629637 w 1372594"/>
                  <a:gd name="T49" fmla="*/ 37635 h 166113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372594"/>
                  <a:gd name="T76" fmla="*/ 0 h 1661130"/>
                  <a:gd name="T77" fmla="*/ 1372594 w 1372594"/>
                  <a:gd name="T78" fmla="*/ 1661130 h 166113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372594" h="1661130">
                    <a:moveTo>
                      <a:pt x="726266" y="0"/>
                    </a:moveTo>
                    <a:lnTo>
                      <a:pt x="748381" y="6850"/>
                    </a:lnTo>
                    <a:cubicBezTo>
                      <a:pt x="942906" y="77489"/>
                      <a:pt x="1119148" y="204974"/>
                      <a:pt x="1249948" y="385005"/>
                    </a:cubicBezTo>
                    <a:cubicBezTo>
                      <a:pt x="1293548" y="445015"/>
                      <a:pt x="1330036" y="508024"/>
                      <a:pt x="1359570" y="573024"/>
                    </a:cubicBezTo>
                    <a:lnTo>
                      <a:pt x="1372594" y="605952"/>
                    </a:lnTo>
                    <a:lnTo>
                      <a:pt x="1354556" y="603971"/>
                    </a:lnTo>
                    <a:cubicBezTo>
                      <a:pt x="1148536" y="591255"/>
                      <a:pt x="937813" y="637536"/>
                      <a:pt x="749543" y="747117"/>
                    </a:cubicBezTo>
                    <a:lnTo>
                      <a:pt x="728408" y="760899"/>
                    </a:lnTo>
                    <a:lnTo>
                      <a:pt x="657405" y="807202"/>
                    </a:lnTo>
                    <a:cubicBezTo>
                      <a:pt x="567389" y="872602"/>
                      <a:pt x="490511" y="949362"/>
                      <a:pt x="427305" y="1034089"/>
                    </a:cubicBezTo>
                    <a:lnTo>
                      <a:pt x="411023" y="1058323"/>
                    </a:lnTo>
                    <a:lnTo>
                      <a:pt x="411023" y="1058322"/>
                    </a:lnTo>
                    <a:lnTo>
                      <a:pt x="368680" y="1121343"/>
                    </a:lnTo>
                    <a:cubicBezTo>
                      <a:pt x="278631" y="1270776"/>
                      <a:pt x="227064" y="1439192"/>
                      <a:pt x="216467" y="1610875"/>
                    </a:cubicBezTo>
                    <a:lnTo>
                      <a:pt x="215776" y="1661130"/>
                    </a:lnTo>
                    <a:cubicBezTo>
                      <a:pt x="212278" y="1656794"/>
                      <a:pt x="208780" y="1652458"/>
                      <a:pt x="205283" y="1648122"/>
                    </a:cubicBezTo>
                    <a:cubicBezTo>
                      <a:pt x="139883" y="1558107"/>
                      <a:pt x="90487" y="1461346"/>
                      <a:pt x="56556" y="1361235"/>
                    </a:cubicBezTo>
                    <a:lnTo>
                      <a:pt x="30079" y="1268266"/>
                    </a:lnTo>
                    <a:lnTo>
                      <a:pt x="30078" y="1268267"/>
                    </a:lnTo>
                    <a:lnTo>
                      <a:pt x="27762" y="1260134"/>
                    </a:lnTo>
                    <a:cubicBezTo>
                      <a:pt x="-19596" y="1056200"/>
                      <a:pt x="-5804" y="843391"/>
                      <a:pt x="64834" y="648866"/>
                    </a:cubicBezTo>
                    <a:lnTo>
                      <a:pt x="82640" y="606344"/>
                    </a:lnTo>
                    <a:lnTo>
                      <a:pt x="104871" y="553253"/>
                    </a:lnTo>
                    <a:cubicBezTo>
                      <a:pt x="179427" y="396855"/>
                      <a:pt x="292963" y="256298"/>
                      <a:pt x="442989" y="147298"/>
                    </a:cubicBezTo>
                    <a:cubicBezTo>
                      <a:pt x="502999" y="103698"/>
                      <a:pt x="566007" y="67212"/>
                      <a:pt x="631007" y="37677"/>
                    </a:cubicBezTo>
                    <a:lnTo>
                      <a:pt x="726266" y="0"/>
                    </a:lnTo>
                    <a:close/>
                  </a:path>
                </a:pathLst>
              </a:custGeom>
              <a:solidFill>
                <a:srgbClr val="8544CC">
                  <a:alpha val="44000"/>
                </a:srgbClr>
              </a:solidFill>
              <a:ln w="12700">
                <a:solidFill>
                  <a:srgbClr val="FFFFFF"/>
                </a:solidFill>
                <a:miter lim="800000"/>
              </a:ln>
            </p:spPr>
            <p:txBody>
              <a:bodyPr lIns="0" tIns="288000" rIns="0" bIns="0">
                <a:norm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9pPr>
              </a:lstStyle>
              <a:p>
                <a:pPr algn="ctr" eaLnBrk="1" hangingPunct="1">
                  <a:lnSpc>
                    <a:spcPct val="120000"/>
                  </a:lnSpc>
                  <a:spcBef>
                    <a:spcPct val="0"/>
                  </a:spcBef>
                  <a:buFontTx/>
                  <a:buNone/>
                  <a:defRPr/>
                </a:pPr>
                <a:r>
                  <a:rPr lang="en-US" altLang="zh-CN" sz="2000" dirty="0">
                    <a:solidFill>
                      <a:srgbClr val="FFFFFF"/>
                    </a:solidFill>
                    <a:latin typeface="+mn-lt"/>
                    <a:ea typeface="+mn-ea"/>
                    <a:cs typeface="+mn-ea"/>
                    <a:sym typeface="+mn-lt"/>
                  </a:rPr>
                  <a:t>A</a:t>
                </a:r>
              </a:p>
            </p:txBody>
          </p:sp>
          <p:sp>
            <p:nvSpPr>
              <p:cNvPr id="15" name="MH_SubTitle_2"/>
              <p:cNvSpPr/>
              <p:nvPr>
                <p:custDataLst>
                  <p:tags r:id="rId4"/>
                </p:custDataLst>
              </p:nvPr>
            </p:nvSpPr>
            <p:spPr bwMode="auto">
              <a:xfrm rot="3293688">
                <a:off x="2656880" y="2058790"/>
                <a:ext cx="1110854" cy="1436687"/>
              </a:xfrm>
              <a:custGeom>
                <a:avLst/>
                <a:gdLst>
                  <a:gd name="T0" fmla="*/ 235237 w 1479913"/>
                  <a:gd name="T1" fmla="*/ 403387 h 1435996"/>
                  <a:gd name="T2" fmla="*/ 247261 w 1479913"/>
                  <a:gd name="T3" fmla="*/ 389748 h 1435996"/>
                  <a:gd name="T4" fmla="*/ 303555 w 1479913"/>
                  <a:gd name="T5" fmla="*/ 325899 h 1435996"/>
                  <a:gd name="T6" fmla="*/ 950159 w 1479913"/>
                  <a:gd name="T7" fmla="*/ 6168 h 1435996"/>
                  <a:gd name="T8" fmla="*/ 1043472 w 1479913"/>
                  <a:gd name="T9" fmla="*/ 0 h 1435996"/>
                  <a:gd name="T10" fmla="*/ 1084289 w 1479913"/>
                  <a:gd name="T11" fmla="*/ 29509 h 1435996"/>
                  <a:gd name="T12" fmla="*/ 1481921 w 1479913"/>
                  <a:gd name="T13" fmla="*/ 743688 h 1435996"/>
                  <a:gd name="T14" fmla="*/ 1483591 w 1479913"/>
                  <a:gd name="T15" fmla="*/ 768900 h 1435996"/>
                  <a:gd name="T16" fmla="*/ 1392077 w 1479913"/>
                  <a:gd name="T17" fmla="*/ 737049 h 1435996"/>
                  <a:gd name="T18" fmla="*/ 1071052 w 1479913"/>
                  <a:gd name="T19" fmla="*/ 693677 h 1435996"/>
                  <a:gd name="T20" fmla="*/ 854338 w 1479913"/>
                  <a:gd name="T21" fmla="*/ 718922 h 1435996"/>
                  <a:gd name="T22" fmla="*/ 820101 w 1479913"/>
                  <a:gd name="T23" fmla="*/ 728288 h 1435996"/>
                  <a:gd name="T24" fmla="*/ 751539 w 1479913"/>
                  <a:gd name="T25" fmla="*/ 747044 h 1435996"/>
                  <a:gd name="T26" fmla="*/ 471758 w 1479913"/>
                  <a:gd name="T27" fmla="*/ 886818 h 1435996"/>
                  <a:gd name="T28" fmla="*/ 429688 w 1479913"/>
                  <a:gd name="T29" fmla="*/ 919281 h 1435996"/>
                  <a:gd name="T30" fmla="*/ 389815 w 1479913"/>
                  <a:gd name="T31" fmla="*/ 950049 h 1435996"/>
                  <a:gd name="T32" fmla="*/ 88952 w 1479913"/>
                  <a:gd name="T33" fmla="*/ 1366267 h 1435996"/>
                  <a:gd name="T34" fmla="*/ 63911 w 1479913"/>
                  <a:gd name="T35" fmla="*/ 1438070 h 1435996"/>
                  <a:gd name="T36" fmla="*/ 53422 w 1479913"/>
                  <a:gd name="T37" fmla="*/ 1410773 h 1435996"/>
                  <a:gd name="T38" fmla="*/ 0 w 1479913"/>
                  <a:gd name="T39" fmla="*/ 1091591 h 1435996"/>
                  <a:gd name="T40" fmla="*/ 2958 w 1479913"/>
                  <a:gd name="T41" fmla="*/ 1006753 h 1435996"/>
                  <a:gd name="T42" fmla="*/ 3841 w 1479913"/>
                  <a:gd name="T43" fmla="*/ 981501 h 1435996"/>
                  <a:gd name="T44" fmla="*/ 235237 w 1479913"/>
                  <a:gd name="T45" fmla="*/ 403387 h 143599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479913"/>
                  <a:gd name="T70" fmla="*/ 0 h 1435996"/>
                  <a:gd name="T71" fmla="*/ 1479913 w 1479913"/>
                  <a:gd name="T72" fmla="*/ 1435996 h 143599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479913" h="1435996">
                    <a:moveTo>
                      <a:pt x="234654" y="402805"/>
                    </a:moveTo>
                    <a:lnTo>
                      <a:pt x="246648" y="389187"/>
                    </a:lnTo>
                    <a:lnTo>
                      <a:pt x="302802" y="325428"/>
                    </a:lnTo>
                    <a:cubicBezTo>
                      <a:pt x="470261" y="152656"/>
                      <a:pt x="695391" y="35781"/>
                      <a:pt x="947803" y="6159"/>
                    </a:cubicBezTo>
                    <a:lnTo>
                      <a:pt x="1040885" y="0"/>
                    </a:lnTo>
                    <a:lnTo>
                      <a:pt x="1081601" y="29467"/>
                    </a:lnTo>
                    <a:cubicBezTo>
                      <a:pt x="1296576" y="201307"/>
                      <a:pt x="1444392" y="454144"/>
                      <a:pt x="1478246" y="742615"/>
                    </a:cubicBezTo>
                    <a:lnTo>
                      <a:pt x="1479913" y="767791"/>
                    </a:lnTo>
                    <a:lnTo>
                      <a:pt x="1388627" y="735987"/>
                    </a:lnTo>
                    <a:cubicBezTo>
                      <a:pt x="1287214" y="706174"/>
                      <a:pt x="1179649" y="690939"/>
                      <a:pt x="1068397" y="692677"/>
                    </a:cubicBezTo>
                    <a:cubicBezTo>
                      <a:pt x="994229" y="693835"/>
                      <a:pt x="921935" y="702482"/>
                      <a:pt x="852220" y="717885"/>
                    </a:cubicBezTo>
                    <a:lnTo>
                      <a:pt x="818068" y="727238"/>
                    </a:lnTo>
                    <a:lnTo>
                      <a:pt x="749675" y="745967"/>
                    </a:lnTo>
                    <a:cubicBezTo>
                      <a:pt x="649244" y="778934"/>
                      <a:pt x="555417" y="826281"/>
                      <a:pt x="470588" y="885539"/>
                    </a:cubicBezTo>
                    <a:lnTo>
                      <a:pt x="428623" y="917955"/>
                    </a:lnTo>
                    <a:lnTo>
                      <a:pt x="388849" y="948678"/>
                    </a:lnTo>
                    <a:cubicBezTo>
                      <a:pt x="257908" y="1060222"/>
                      <a:pt x="154178" y="1202570"/>
                      <a:pt x="88731" y="1364297"/>
                    </a:cubicBezTo>
                    <a:lnTo>
                      <a:pt x="63752" y="1435996"/>
                    </a:lnTo>
                    <a:lnTo>
                      <a:pt x="53290" y="1408738"/>
                    </a:lnTo>
                    <a:cubicBezTo>
                      <a:pt x="20324" y="1308306"/>
                      <a:pt x="1738" y="1201269"/>
                      <a:pt x="0" y="1090016"/>
                    </a:cubicBezTo>
                    <a:lnTo>
                      <a:pt x="2952" y="1005301"/>
                    </a:lnTo>
                    <a:lnTo>
                      <a:pt x="3832" y="980085"/>
                    </a:lnTo>
                    <a:cubicBezTo>
                      <a:pt x="22454" y="763044"/>
                      <a:pt x="105773" y="564036"/>
                      <a:pt x="234654" y="402805"/>
                    </a:cubicBezTo>
                    <a:close/>
                  </a:path>
                </a:pathLst>
              </a:custGeom>
              <a:solidFill>
                <a:srgbClr val="515CBE">
                  <a:alpha val="44000"/>
                </a:srgbClr>
              </a:solidFill>
              <a:ln w="12700">
                <a:solidFill>
                  <a:srgbClr val="FFFFFF"/>
                </a:solidFill>
                <a:miter lim="800000"/>
              </a:ln>
            </p:spPr>
            <p:txBody>
              <a:bodyPr lIns="216000" tIns="180000" rIns="0" bIns="0">
                <a:norm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9pPr>
              </a:lstStyle>
              <a:p>
                <a:pPr algn="ctr" eaLnBrk="1" hangingPunct="1">
                  <a:lnSpc>
                    <a:spcPct val="120000"/>
                  </a:lnSpc>
                  <a:spcBef>
                    <a:spcPct val="0"/>
                  </a:spcBef>
                  <a:buFontTx/>
                  <a:buNone/>
                  <a:defRPr/>
                </a:pPr>
                <a:r>
                  <a:rPr lang="en-US" altLang="zh-CN" sz="2000" dirty="0">
                    <a:solidFill>
                      <a:srgbClr val="FFFFFF"/>
                    </a:solidFill>
                    <a:latin typeface="+mn-lt"/>
                    <a:ea typeface="+mn-ea"/>
                    <a:cs typeface="+mn-ea"/>
                    <a:sym typeface="+mn-lt"/>
                  </a:rPr>
                  <a:t>B</a:t>
                </a:r>
              </a:p>
            </p:txBody>
          </p:sp>
          <p:sp>
            <p:nvSpPr>
              <p:cNvPr id="16" name="MH_SubTitle_3"/>
              <p:cNvSpPr/>
              <p:nvPr>
                <p:custDataLst>
                  <p:tags r:id="rId5"/>
                </p:custDataLst>
              </p:nvPr>
            </p:nvSpPr>
            <p:spPr bwMode="auto">
              <a:xfrm rot="-2051988">
                <a:off x="2292350" y="2751535"/>
                <a:ext cx="1360488" cy="1256109"/>
              </a:xfrm>
              <a:custGeom>
                <a:avLst/>
                <a:gdLst>
                  <a:gd name="T0" fmla="*/ 1124542 w 1360520"/>
                  <a:gd name="T1" fmla="*/ 0 h 1674619"/>
                  <a:gd name="T2" fmla="*/ 1157614 w 1360520"/>
                  <a:gd name="T3" fmla="*/ 41463 h 1674619"/>
                  <a:gd name="T4" fmla="*/ 1301567 w 1360520"/>
                  <a:gd name="T5" fmla="*/ 318406 h 1674619"/>
                  <a:gd name="T6" fmla="*/ 1321374 w 1360520"/>
                  <a:gd name="T7" fmla="*/ 386518 h 1674619"/>
                  <a:gd name="T8" fmla="*/ 1321375 w 1360520"/>
                  <a:gd name="T9" fmla="*/ 386518 h 1674619"/>
                  <a:gd name="T10" fmla="*/ 1331266 w 1360520"/>
                  <a:gd name="T11" fmla="*/ 420527 h 1674619"/>
                  <a:gd name="T12" fmla="*/ 1359884 w 1360520"/>
                  <a:gd name="T13" fmla="*/ 636353 h 1674619"/>
                  <a:gd name="T14" fmla="*/ 1321642 w 1360520"/>
                  <a:gd name="T15" fmla="*/ 957339 h 1674619"/>
                  <a:gd name="T16" fmla="*/ 1291288 w 1360520"/>
                  <a:gd name="T17" fmla="*/ 1049148 h 1674619"/>
                  <a:gd name="T18" fmla="*/ 1291288 w 1360520"/>
                  <a:gd name="T19" fmla="*/ 1049150 h 1674619"/>
                  <a:gd name="T20" fmla="*/ 1288633 w 1360520"/>
                  <a:gd name="T21" fmla="*/ 1057180 h 1674619"/>
                  <a:gd name="T22" fmla="*/ 735115 w 1360520"/>
                  <a:gd name="T23" fmla="*/ 1646866 h 1674619"/>
                  <a:gd name="T24" fmla="*/ 664673 w 1360520"/>
                  <a:gd name="T25" fmla="*/ 1675198 h 1674619"/>
                  <a:gd name="T26" fmla="*/ 592595 w 1360520"/>
                  <a:gd name="T27" fmla="*/ 1651346 h 1674619"/>
                  <a:gd name="T28" fmla="*/ 3154 w 1360520"/>
                  <a:gd name="T29" fmla="*/ 1097597 h 1674619"/>
                  <a:gd name="T30" fmla="*/ 0 w 1360520"/>
                  <a:gd name="T31" fmla="*/ 1089752 h 1674619"/>
                  <a:gd name="T32" fmla="*/ 84745 w 1360520"/>
                  <a:gd name="T33" fmla="*/ 1091366 h 1674619"/>
                  <a:gd name="T34" fmla="*/ 592540 w 1360520"/>
                  <a:gd name="T35" fmla="*/ 945606 h 1674619"/>
                  <a:gd name="T36" fmla="*/ 640765 w 1360520"/>
                  <a:gd name="T37" fmla="*/ 914180 h 1674619"/>
                  <a:gd name="T38" fmla="*/ 640765 w 1360520"/>
                  <a:gd name="T39" fmla="*/ 914179 h 1674619"/>
                  <a:gd name="T40" fmla="*/ 679390 w 1360520"/>
                  <a:gd name="T41" fmla="*/ 889009 h 1674619"/>
                  <a:gd name="T42" fmla="*/ 901110 w 1360520"/>
                  <a:gd name="T43" fmla="*/ 674359 h 1674619"/>
                  <a:gd name="T44" fmla="*/ 947058 w 1360520"/>
                  <a:gd name="T45" fmla="*/ 608686 h 1674619"/>
                  <a:gd name="T46" fmla="*/ 950785 w 1360520"/>
                  <a:gd name="T47" fmla="*/ 607600 h 1674619"/>
                  <a:gd name="T48" fmla="*/ 950784 w 1360520"/>
                  <a:gd name="T49" fmla="*/ 607600 h 1674619"/>
                  <a:gd name="T50" fmla="*/ 947057 w 1360520"/>
                  <a:gd name="T51" fmla="*/ 608685 h 1674619"/>
                  <a:gd name="T52" fmla="*/ 960329 w 1360520"/>
                  <a:gd name="T53" fmla="*/ 589711 h 1674619"/>
                  <a:gd name="T54" fmla="*/ 1122766 w 1360520"/>
                  <a:gd name="T55" fmla="*/ 93303 h 1674619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1360520"/>
                  <a:gd name="T85" fmla="*/ 0 h 1674619"/>
                  <a:gd name="T86" fmla="*/ 1360520 w 1360520"/>
                  <a:gd name="T87" fmla="*/ 1674619 h 1674619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1360520" h="1674619">
                    <a:moveTo>
                      <a:pt x="1124620" y="0"/>
                    </a:moveTo>
                    <a:lnTo>
                      <a:pt x="1157695" y="41448"/>
                    </a:lnTo>
                    <a:cubicBezTo>
                      <a:pt x="1218286" y="125330"/>
                      <a:pt x="1267110" y="218397"/>
                      <a:pt x="1301660" y="318295"/>
                    </a:cubicBezTo>
                    <a:lnTo>
                      <a:pt x="1321467" y="386383"/>
                    </a:lnTo>
                    <a:lnTo>
                      <a:pt x="1321468" y="386383"/>
                    </a:lnTo>
                    <a:lnTo>
                      <a:pt x="1331359" y="420383"/>
                    </a:lnTo>
                    <a:cubicBezTo>
                      <a:pt x="1347862" y="489845"/>
                      <a:pt x="1357650" y="561994"/>
                      <a:pt x="1359980" y="636134"/>
                    </a:cubicBezTo>
                    <a:cubicBezTo>
                      <a:pt x="1363475" y="747345"/>
                      <a:pt x="1349943" y="855138"/>
                      <a:pt x="1321735" y="957009"/>
                    </a:cubicBezTo>
                    <a:lnTo>
                      <a:pt x="1291378" y="1048785"/>
                    </a:lnTo>
                    <a:lnTo>
                      <a:pt x="1291378" y="1048787"/>
                    </a:lnTo>
                    <a:lnTo>
                      <a:pt x="1288723" y="1056814"/>
                    </a:lnTo>
                    <a:cubicBezTo>
                      <a:pt x="1188110" y="1317200"/>
                      <a:pt x="988719" y="1529531"/>
                      <a:pt x="735166" y="1646296"/>
                    </a:cubicBezTo>
                    <a:lnTo>
                      <a:pt x="664721" y="1674619"/>
                    </a:lnTo>
                    <a:lnTo>
                      <a:pt x="592637" y="1650776"/>
                    </a:lnTo>
                    <a:cubicBezTo>
                      <a:pt x="332251" y="1550163"/>
                      <a:pt x="119920" y="1350772"/>
                      <a:pt x="3154" y="1097219"/>
                    </a:cubicBezTo>
                    <a:lnTo>
                      <a:pt x="0" y="1089374"/>
                    </a:lnTo>
                    <a:lnTo>
                      <a:pt x="84751" y="1090988"/>
                    </a:lnTo>
                    <a:cubicBezTo>
                      <a:pt x="270101" y="1085162"/>
                      <a:pt x="443010" y="1032726"/>
                      <a:pt x="592582" y="945279"/>
                    </a:cubicBezTo>
                    <a:lnTo>
                      <a:pt x="640810" y="913865"/>
                    </a:lnTo>
                    <a:lnTo>
                      <a:pt x="640810" y="913864"/>
                    </a:lnTo>
                    <a:lnTo>
                      <a:pt x="679438" y="888703"/>
                    </a:lnTo>
                    <a:cubicBezTo>
                      <a:pt x="763319" y="828110"/>
                      <a:pt x="838015" y="755750"/>
                      <a:pt x="901173" y="674125"/>
                    </a:cubicBezTo>
                    <a:lnTo>
                      <a:pt x="947124" y="608476"/>
                    </a:lnTo>
                    <a:lnTo>
                      <a:pt x="950851" y="607390"/>
                    </a:lnTo>
                    <a:cubicBezTo>
                      <a:pt x="951472" y="607210"/>
                      <a:pt x="951472" y="607210"/>
                      <a:pt x="950850" y="607390"/>
                    </a:cubicBezTo>
                    <a:lnTo>
                      <a:pt x="947123" y="608475"/>
                    </a:lnTo>
                    <a:lnTo>
                      <a:pt x="960398" y="589507"/>
                    </a:lnTo>
                    <a:cubicBezTo>
                      <a:pt x="1052406" y="443639"/>
                      <a:pt x="1110186" y="274360"/>
                      <a:pt x="1122844" y="93270"/>
                    </a:cubicBezTo>
                    <a:lnTo>
                      <a:pt x="1124620" y="0"/>
                    </a:lnTo>
                    <a:close/>
                  </a:path>
                </a:pathLst>
              </a:custGeom>
              <a:solidFill>
                <a:srgbClr val="767ECC">
                  <a:alpha val="44000"/>
                </a:srgbClr>
              </a:solidFill>
              <a:ln w="12700">
                <a:solidFill>
                  <a:srgbClr val="FFFFFF"/>
                </a:solidFill>
                <a:miter lim="800000"/>
              </a:ln>
            </p:spPr>
            <p:txBody>
              <a:bodyPr lIns="0" tIns="0" rIns="0" bIns="288000" anchor="b">
                <a:norm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9pPr>
              </a:lstStyle>
              <a:p>
                <a:pPr algn="ctr" eaLnBrk="1" hangingPunct="1">
                  <a:lnSpc>
                    <a:spcPct val="120000"/>
                  </a:lnSpc>
                  <a:spcBef>
                    <a:spcPct val="0"/>
                  </a:spcBef>
                  <a:buFontTx/>
                  <a:buNone/>
                  <a:defRPr/>
                </a:pPr>
                <a:r>
                  <a:rPr lang="en-US" altLang="zh-CN" sz="2000" dirty="0">
                    <a:solidFill>
                      <a:srgbClr val="FFFFFF"/>
                    </a:solidFill>
                    <a:latin typeface="+mn-lt"/>
                    <a:ea typeface="+mn-ea"/>
                    <a:cs typeface="+mn-ea"/>
                    <a:sym typeface="+mn-lt"/>
                  </a:rPr>
                  <a:t>C</a:t>
                </a:r>
              </a:p>
            </p:txBody>
          </p:sp>
          <p:sp>
            <p:nvSpPr>
              <p:cNvPr id="17" name="MH_SubTitle_4"/>
              <p:cNvSpPr/>
              <p:nvPr>
                <p:custDataLst>
                  <p:tags r:id="rId6"/>
                </p:custDataLst>
              </p:nvPr>
            </p:nvSpPr>
            <p:spPr bwMode="auto">
              <a:xfrm rot="1555885">
                <a:off x="1463676" y="2868216"/>
                <a:ext cx="1439863" cy="1157288"/>
              </a:xfrm>
              <a:custGeom>
                <a:avLst/>
                <a:gdLst>
                  <a:gd name="T0" fmla="*/ 1323670 w 1440240"/>
                  <a:gd name="T1" fmla="*/ 0 h 1543357"/>
                  <a:gd name="T2" fmla="*/ 1357689 w 1440240"/>
                  <a:gd name="T3" fmla="*/ 72499 h 1543357"/>
                  <a:gd name="T4" fmla="*/ 1433278 w 1440240"/>
                  <a:gd name="T5" fmla="*/ 371464 h 1543357"/>
                  <a:gd name="T6" fmla="*/ 1435857 w 1440240"/>
                  <a:gd name="T7" fmla="*/ 417465 h 1543357"/>
                  <a:gd name="T8" fmla="*/ 1439077 w 1440240"/>
                  <a:gd name="T9" fmla="*/ 474895 h 1543357"/>
                  <a:gd name="T10" fmla="*/ 1312622 w 1440240"/>
                  <a:gd name="T11" fmla="*/ 987529 h 1543357"/>
                  <a:gd name="T12" fmla="*/ 1269052 w 1440240"/>
                  <a:gd name="T13" fmla="*/ 1060176 h 1543357"/>
                  <a:gd name="T14" fmla="*/ 1256081 w 1440240"/>
                  <a:gd name="T15" fmla="*/ 1081801 h 1543357"/>
                  <a:gd name="T16" fmla="*/ 578061 w 1440240"/>
                  <a:gd name="T17" fmla="*/ 1534821 h 1543357"/>
                  <a:gd name="T18" fmla="*/ 528422 w 1440240"/>
                  <a:gd name="T19" fmla="*/ 1542436 h 1543357"/>
                  <a:gd name="T20" fmla="*/ 448489 w 1440240"/>
                  <a:gd name="T21" fmla="*/ 1494475 h 1543357"/>
                  <a:gd name="T22" fmla="*/ 20823 w 1440240"/>
                  <a:gd name="T23" fmla="*/ 916224 h 1543357"/>
                  <a:gd name="T24" fmla="*/ 0 w 1440240"/>
                  <a:gd name="T25" fmla="*/ 833905 h 1543357"/>
                  <a:gd name="T26" fmla="*/ 68854 w 1440240"/>
                  <a:gd name="T27" fmla="*/ 850629 h 1543357"/>
                  <a:gd name="T28" fmla="*/ 582271 w 1440240"/>
                  <a:gd name="T29" fmla="*/ 822728 h 1543357"/>
                  <a:gd name="T30" fmla="*/ 662215 w 1440240"/>
                  <a:gd name="T31" fmla="*/ 794154 h 1543357"/>
                  <a:gd name="T32" fmla="*/ 662215 w 1440240"/>
                  <a:gd name="T33" fmla="*/ 794153 h 1543357"/>
                  <a:gd name="T34" fmla="*/ 679287 w 1440240"/>
                  <a:gd name="T35" fmla="*/ 788050 h 1543357"/>
                  <a:gd name="T36" fmla="*/ 1024140 w 1440240"/>
                  <a:gd name="T37" fmla="*/ 559763 h 1543357"/>
                  <a:gd name="T38" fmla="*/ 1026758 w 1440240"/>
                  <a:gd name="T39" fmla="*/ 556901 h 1543357"/>
                  <a:gd name="T40" fmla="*/ 1026761 w 1440240"/>
                  <a:gd name="T41" fmla="*/ 556902 h 1543357"/>
                  <a:gd name="T42" fmla="*/ 1095897 w 1440240"/>
                  <a:gd name="T43" fmla="*/ 481408 h 1543357"/>
                  <a:gd name="T44" fmla="*/ 1216953 w 1440240"/>
                  <a:gd name="T45" fmla="*/ 300712 h 1543357"/>
                  <a:gd name="T46" fmla="*/ 1299518 w 1440240"/>
                  <a:gd name="T47" fmla="*/ 99486 h 154335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440240"/>
                  <a:gd name="T73" fmla="*/ 0 h 1543357"/>
                  <a:gd name="T74" fmla="*/ 1440240 w 1440240"/>
                  <a:gd name="T75" fmla="*/ 1543357 h 1543357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440240" h="1543357">
                    <a:moveTo>
                      <a:pt x="1324711" y="0"/>
                    </a:moveTo>
                    <a:lnTo>
                      <a:pt x="1358756" y="72541"/>
                    </a:lnTo>
                    <a:cubicBezTo>
                      <a:pt x="1398084" y="167961"/>
                      <a:pt x="1423633" y="268771"/>
                      <a:pt x="1434403" y="371686"/>
                    </a:cubicBezTo>
                    <a:lnTo>
                      <a:pt x="1436985" y="417714"/>
                    </a:lnTo>
                    <a:lnTo>
                      <a:pt x="1440208" y="475179"/>
                    </a:lnTo>
                    <a:cubicBezTo>
                      <a:pt x="1441550" y="648433"/>
                      <a:pt x="1400909" y="824488"/>
                      <a:pt x="1313654" y="988119"/>
                    </a:cubicBezTo>
                    <a:lnTo>
                      <a:pt x="1270048" y="1060809"/>
                    </a:lnTo>
                    <a:lnTo>
                      <a:pt x="1257068" y="1082446"/>
                    </a:lnTo>
                    <a:cubicBezTo>
                      <a:pt x="1095208" y="1323616"/>
                      <a:pt x="848239" y="1481041"/>
                      <a:pt x="578514" y="1535736"/>
                    </a:cubicBezTo>
                    <a:lnTo>
                      <a:pt x="528836" y="1543357"/>
                    </a:lnTo>
                    <a:lnTo>
                      <a:pt x="448840" y="1495366"/>
                    </a:lnTo>
                    <a:cubicBezTo>
                      <a:pt x="237816" y="1353739"/>
                      <a:pt x="90910" y="1146949"/>
                      <a:pt x="20838" y="916770"/>
                    </a:cubicBezTo>
                    <a:lnTo>
                      <a:pt x="0" y="834403"/>
                    </a:lnTo>
                    <a:lnTo>
                      <a:pt x="68908" y="851136"/>
                    </a:lnTo>
                    <a:cubicBezTo>
                      <a:pt x="241966" y="884120"/>
                      <a:pt x="418314" y="873271"/>
                      <a:pt x="582728" y="823220"/>
                    </a:cubicBezTo>
                    <a:lnTo>
                      <a:pt x="662734" y="794628"/>
                    </a:lnTo>
                    <a:lnTo>
                      <a:pt x="662734" y="794627"/>
                    </a:lnTo>
                    <a:lnTo>
                      <a:pt x="679821" y="788521"/>
                    </a:lnTo>
                    <a:cubicBezTo>
                      <a:pt x="807046" y="736084"/>
                      <a:pt x="924685" y="659151"/>
                      <a:pt x="1024944" y="560096"/>
                    </a:cubicBezTo>
                    <a:lnTo>
                      <a:pt x="1027565" y="557234"/>
                    </a:lnTo>
                    <a:cubicBezTo>
                      <a:pt x="1027566" y="557235"/>
                      <a:pt x="1027567" y="557234"/>
                      <a:pt x="1027568" y="557235"/>
                    </a:cubicBezTo>
                    <a:lnTo>
                      <a:pt x="1096758" y="481696"/>
                    </a:lnTo>
                    <a:cubicBezTo>
                      <a:pt x="1142298" y="426711"/>
                      <a:pt x="1183008" y="366344"/>
                      <a:pt x="1217910" y="300892"/>
                    </a:cubicBezTo>
                    <a:cubicBezTo>
                      <a:pt x="1252812" y="235439"/>
                      <a:pt x="1280255" y="168000"/>
                      <a:pt x="1300538" y="99546"/>
                    </a:cubicBezTo>
                    <a:lnTo>
                      <a:pt x="1324711" y="0"/>
                    </a:lnTo>
                    <a:close/>
                  </a:path>
                </a:pathLst>
              </a:custGeom>
              <a:solidFill>
                <a:srgbClr val="9C68D6">
                  <a:alpha val="44000"/>
                </a:srgbClr>
              </a:solidFill>
              <a:ln w="12700">
                <a:solidFill>
                  <a:srgbClr val="FFFFFF"/>
                </a:solidFill>
                <a:miter lim="800000"/>
              </a:ln>
            </p:spPr>
            <p:txBody>
              <a:bodyPr lIns="0" tIns="0" rIns="108000" bIns="288000" anchor="b">
                <a:normAutofit/>
              </a:bodyPr>
              <a:lstStyle>
                <a:lvl1pPr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32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1pPr>
                <a:lvl2pPr marL="742950" indent="-28575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8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2pPr>
                <a:lvl3pPr marL="1143000" indent="-228600">
                  <a:spcBef>
                    <a:spcPct val="200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3pPr>
                <a:lvl4pPr marL="1600200" indent="-228600">
                  <a:spcBef>
                    <a:spcPct val="20000"/>
                  </a:spcBef>
                  <a:buFont typeface="Arial" panose="020B0604020202020204" pitchFamily="34" charset="0"/>
                  <a:buChar char="–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4pPr>
                <a:lvl5pPr marL="2057400" indent="-228600">
                  <a:spcBef>
                    <a:spcPct val="20000"/>
                  </a:spcBef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Font typeface="Arial" panose="020B0604020202020204" pitchFamily="34" charset="0"/>
                  <a:buChar char="»"/>
                  <a:defRPr sz="2000">
                    <a:solidFill>
                      <a:schemeClr val="tx1"/>
                    </a:solidFill>
                    <a:latin typeface="Arial Narrow" panose="020B0606020202030204" pitchFamily="34" charset="0"/>
                    <a:ea typeface="微软雅黑" panose="020B0503020204020204" pitchFamily="34" charset="-122"/>
                  </a:defRPr>
                </a:lvl9pPr>
              </a:lstStyle>
              <a:p>
                <a:pPr algn="ctr" eaLnBrk="1" hangingPunct="1">
                  <a:lnSpc>
                    <a:spcPct val="120000"/>
                  </a:lnSpc>
                  <a:spcBef>
                    <a:spcPct val="0"/>
                  </a:spcBef>
                  <a:buFontTx/>
                  <a:buNone/>
                  <a:defRPr/>
                </a:pPr>
                <a:r>
                  <a:rPr lang="en-US" altLang="zh-CN" sz="2000" dirty="0">
                    <a:solidFill>
                      <a:srgbClr val="FFFFFF"/>
                    </a:solidFill>
                    <a:latin typeface="+mn-lt"/>
                    <a:ea typeface="+mn-ea"/>
                    <a:cs typeface="+mn-ea"/>
                    <a:sym typeface="+mn-lt"/>
                  </a:rPr>
                  <a:t>D</a:t>
                </a:r>
              </a:p>
            </p:txBody>
          </p:sp>
        </p:grpSp>
        <p:pic>
          <p:nvPicPr>
            <p:cNvPr id="2" name="图片 1"/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4366"/>
            <a:stretch>
              <a:fillRect/>
            </a:stretch>
          </p:blipFill>
          <p:spPr>
            <a:xfrm>
              <a:off x="2244" y="4093"/>
              <a:ext cx="1681" cy="1578"/>
            </a:xfrm>
            <a:prstGeom prst="rect">
              <a:avLst/>
            </a:prstGeom>
          </p:spPr>
        </p:pic>
      </p:grpSp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400" tmFilter="0,0; .5, 1; 1, 1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49" presetClass="entr" presetSubtype="0" decel="10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31"/>
          <p:cNvSpPr txBox="1"/>
          <p:nvPr/>
        </p:nvSpPr>
        <p:spPr>
          <a:xfrm>
            <a:off x="2031682" y="158300"/>
            <a:ext cx="5208588" cy="5847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defPPr>
              <a:defRPr lang="zh-CN"/>
            </a:defPPr>
            <a:lvl1pPr lvl="0">
              <a:defRPr sz="3600" b="1">
                <a:solidFill>
                  <a:schemeClr val="accent2"/>
                </a:solidFill>
                <a:cs typeface="+mn-ea"/>
              </a:defRPr>
            </a:lvl1pPr>
          </a:lstStyle>
          <a:p>
            <a:pPr algn="ctr"/>
            <a:r>
              <a:rPr lang="en-US" altLang="zh-CN" sz="3200" dirty="0">
                <a:sym typeface="+mn-lt"/>
              </a:rPr>
              <a:t>Content Analysis</a:t>
            </a:r>
            <a:endParaRPr lang="zh-CN" altLang="en-US" sz="3200" dirty="0">
              <a:sym typeface="+mn-lt"/>
            </a:endParaRPr>
          </a:p>
        </p:txBody>
      </p:sp>
      <p:grpSp>
        <p:nvGrpSpPr>
          <p:cNvPr id="20" name="组合 19"/>
          <p:cNvGrpSpPr/>
          <p:nvPr/>
        </p:nvGrpSpPr>
        <p:grpSpPr>
          <a:xfrm>
            <a:off x="304800" y="1517015"/>
            <a:ext cx="1726565" cy="2465070"/>
            <a:chOff x="480" y="2389"/>
            <a:chExt cx="2719" cy="3882"/>
          </a:xfrm>
        </p:grpSpPr>
        <p:sp>
          <p:nvSpPr>
            <p:cNvPr id="10" name="椭圆 9"/>
            <p:cNvSpPr/>
            <p:nvPr/>
          </p:nvSpPr>
          <p:spPr>
            <a:xfrm>
              <a:off x="904" y="2389"/>
              <a:ext cx="1871" cy="1871"/>
            </a:xfrm>
            <a:prstGeom prst="ellipse">
              <a:avLst/>
            </a:prstGeom>
            <a:solidFill>
              <a:srgbClr val="ACC0E4">
                <a:alpha val="8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8" name="椭圆 23"/>
            <p:cNvSpPr/>
            <p:nvPr/>
          </p:nvSpPr>
          <p:spPr>
            <a:xfrm>
              <a:off x="1331" y="2835"/>
              <a:ext cx="1016" cy="1006"/>
            </a:xfrm>
            <a:custGeom>
              <a:avLst/>
              <a:gdLst>
                <a:gd name="connsiteX0" fmla="*/ 242094 w 331788"/>
                <a:gd name="connsiteY0" fmla="*/ 203585 h 328613"/>
                <a:gd name="connsiteX1" fmla="*/ 214264 w 331788"/>
                <a:gd name="connsiteY1" fmla="*/ 214264 h 328613"/>
                <a:gd name="connsiteX2" fmla="*/ 214264 w 331788"/>
                <a:gd name="connsiteY2" fmla="*/ 269924 h 328613"/>
                <a:gd name="connsiteX3" fmla="*/ 269924 w 331788"/>
                <a:gd name="connsiteY3" fmla="*/ 269924 h 328613"/>
                <a:gd name="connsiteX4" fmla="*/ 269924 w 331788"/>
                <a:gd name="connsiteY4" fmla="*/ 214264 h 328613"/>
                <a:gd name="connsiteX5" fmla="*/ 242094 w 331788"/>
                <a:gd name="connsiteY5" fmla="*/ 203585 h 328613"/>
                <a:gd name="connsiteX6" fmla="*/ 85725 w 331788"/>
                <a:gd name="connsiteY6" fmla="*/ 200752 h 328613"/>
                <a:gd name="connsiteX7" fmla="*/ 136525 w 331788"/>
                <a:gd name="connsiteY7" fmla="*/ 207698 h 328613"/>
                <a:gd name="connsiteX8" fmla="*/ 132667 w 331788"/>
                <a:gd name="connsiteY8" fmla="*/ 222250 h 328613"/>
                <a:gd name="connsiteX9" fmla="*/ 38783 w 331788"/>
                <a:gd name="connsiteY9" fmla="*/ 222250 h 328613"/>
                <a:gd name="connsiteX10" fmla="*/ 34925 w 331788"/>
                <a:gd name="connsiteY10" fmla="*/ 207698 h 328613"/>
                <a:gd name="connsiteX11" fmla="*/ 85725 w 331788"/>
                <a:gd name="connsiteY11" fmla="*/ 200752 h 328613"/>
                <a:gd name="connsiteX12" fmla="*/ 86038 w 331788"/>
                <a:gd name="connsiteY12" fmla="*/ 150283 h 328613"/>
                <a:gd name="connsiteX13" fmla="*/ 136525 w 331788"/>
                <a:gd name="connsiteY13" fmla="*/ 158221 h 328613"/>
                <a:gd name="connsiteX14" fmla="*/ 132678 w 331788"/>
                <a:gd name="connsiteY14" fmla="*/ 171450 h 328613"/>
                <a:gd name="connsiteX15" fmla="*/ 39076 w 331788"/>
                <a:gd name="connsiteY15" fmla="*/ 171450 h 328613"/>
                <a:gd name="connsiteX16" fmla="*/ 36512 w 331788"/>
                <a:gd name="connsiteY16" fmla="*/ 158221 h 328613"/>
                <a:gd name="connsiteX17" fmla="*/ 86038 w 331788"/>
                <a:gd name="connsiteY17" fmla="*/ 150283 h 328613"/>
                <a:gd name="connsiteX18" fmla="*/ 243681 w 331788"/>
                <a:gd name="connsiteY18" fmla="*/ 148724 h 328613"/>
                <a:gd name="connsiteX19" fmla="*/ 295275 w 331788"/>
                <a:gd name="connsiteY19" fmla="*/ 156745 h 328613"/>
                <a:gd name="connsiteX20" fmla="*/ 292663 w 331788"/>
                <a:gd name="connsiteY20" fmla="*/ 171450 h 328613"/>
                <a:gd name="connsiteX21" fmla="*/ 197312 w 331788"/>
                <a:gd name="connsiteY21" fmla="*/ 171450 h 328613"/>
                <a:gd name="connsiteX22" fmla="*/ 192087 w 331788"/>
                <a:gd name="connsiteY22" fmla="*/ 156745 h 328613"/>
                <a:gd name="connsiteX23" fmla="*/ 243681 w 331788"/>
                <a:gd name="connsiteY23" fmla="*/ 148724 h 328613"/>
                <a:gd name="connsiteX24" fmla="*/ 86038 w 331788"/>
                <a:gd name="connsiteY24" fmla="*/ 99483 h 328613"/>
                <a:gd name="connsiteX25" fmla="*/ 136525 w 331788"/>
                <a:gd name="connsiteY25" fmla="*/ 107421 h 328613"/>
                <a:gd name="connsiteX26" fmla="*/ 132678 w 331788"/>
                <a:gd name="connsiteY26" fmla="*/ 120650 h 328613"/>
                <a:gd name="connsiteX27" fmla="*/ 39076 w 331788"/>
                <a:gd name="connsiteY27" fmla="*/ 120650 h 328613"/>
                <a:gd name="connsiteX28" fmla="*/ 36512 w 331788"/>
                <a:gd name="connsiteY28" fmla="*/ 107421 h 328613"/>
                <a:gd name="connsiteX29" fmla="*/ 86038 w 331788"/>
                <a:gd name="connsiteY29" fmla="*/ 99483 h 328613"/>
                <a:gd name="connsiteX30" fmla="*/ 243681 w 331788"/>
                <a:gd name="connsiteY30" fmla="*/ 99152 h 328613"/>
                <a:gd name="connsiteX31" fmla="*/ 295275 w 331788"/>
                <a:gd name="connsiteY31" fmla="*/ 106098 h 328613"/>
                <a:gd name="connsiteX32" fmla="*/ 292663 w 331788"/>
                <a:gd name="connsiteY32" fmla="*/ 120650 h 328613"/>
                <a:gd name="connsiteX33" fmla="*/ 196006 w 331788"/>
                <a:gd name="connsiteY33" fmla="*/ 120650 h 328613"/>
                <a:gd name="connsiteX34" fmla="*/ 192087 w 331788"/>
                <a:gd name="connsiteY34" fmla="*/ 106098 h 328613"/>
                <a:gd name="connsiteX35" fmla="*/ 243681 w 331788"/>
                <a:gd name="connsiteY35" fmla="*/ 99152 h 328613"/>
                <a:gd name="connsiteX36" fmla="*/ 243681 w 331788"/>
                <a:gd name="connsiteY36" fmla="*/ 48711 h 328613"/>
                <a:gd name="connsiteX37" fmla="*/ 295275 w 331788"/>
                <a:gd name="connsiteY37" fmla="*/ 56732 h 328613"/>
                <a:gd name="connsiteX38" fmla="*/ 292663 w 331788"/>
                <a:gd name="connsiteY38" fmla="*/ 71437 h 328613"/>
                <a:gd name="connsiteX39" fmla="*/ 197312 w 331788"/>
                <a:gd name="connsiteY39" fmla="*/ 71437 h 328613"/>
                <a:gd name="connsiteX40" fmla="*/ 192087 w 331788"/>
                <a:gd name="connsiteY40" fmla="*/ 56732 h 328613"/>
                <a:gd name="connsiteX41" fmla="*/ 243681 w 331788"/>
                <a:gd name="connsiteY41" fmla="*/ 48711 h 328613"/>
                <a:gd name="connsiteX42" fmla="*/ 85725 w 331788"/>
                <a:gd name="connsiteY42" fmla="*/ 48683 h 328613"/>
                <a:gd name="connsiteX43" fmla="*/ 136525 w 331788"/>
                <a:gd name="connsiteY43" fmla="*/ 56621 h 328613"/>
                <a:gd name="connsiteX44" fmla="*/ 132667 w 331788"/>
                <a:gd name="connsiteY44" fmla="*/ 69850 h 328613"/>
                <a:gd name="connsiteX45" fmla="*/ 38783 w 331788"/>
                <a:gd name="connsiteY45" fmla="*/ 69850 h 328613"/>
                <a:gd name="connsiteX46" fmla="*/ 34925 w 331788"/>
                <a:gd name="connsiteY46" fmla="*/ 56621 h 328613"/>
                <a:gd name="connsiteX47" fmla="*/ 85725 w 331788"/>
                <a:gd name="connsiteY47" fmla="*/ 48683 h 328613"/>
                <a:gd name="connsiteX48" fmla="*/ 245779 w 331788"/>
                <a:gd name="connsiteY48" fmla="*/ 12700 h 328613"/>
                <a:gd name="connsiteX49" fmla="*/ 171450 w 331788"/>
                <a:gd name="connsiteY49" fmla="*/ 28215 h 328613"/>
                <a:gd name="connsiteX50" fmla="*/ 171450 w 331788"/>
                <a:gd name="connsiteY50" fmla="*/ 263525 h 328613"/>
                <a:gd name="connsiteX51" fmla="*/ 192314 w 331788"/>
                <a:gd name="connsiteY51" fmla="*/ 257061 h 328613"/>
                <a:gd name="connsiteX52" fmla="*/ 205355 w 331788"/>
                <a:gd name="connsiteY52" fmla="*/ 205344 h 328613"/>
                <a:gd name="connsiteX53" fmla="*/ 279684 w 331788"/>
                <a:gd name="connsiteY53" fmla="*/ 205344 h 328613"/>
                <a:gd name="connsiteX54" fmla="*/ 294028 w 331788"/>
                <a:gd name="connsiteY54" fmla="*/ 257061 h 328613"/>
                <a:gd name="connsiteX55" fmla="*/ 317500 w 331788"/>
                <a:gd name="connsiteY55" fmla="*/ 263525 h 328613"/>
                <a:gd name="connsiteX56" fmla="*/ 317500 w 331788"/>
                <a:gd name="connsiteY56" fmla="*/ 28215 h 328613"/>
                <a:gd name="connsiteX57" fmla="*/ 245779 w 331788"/>
                <a:gd name="connsiteY57" fmla="*/ 12700 h 328613"/>
                <a:gd name="connsiteX58" fmla="*/ 84931 w 331788"/>
                <a:gd name="connsiteY58" fmla="*/ 12700 h 328613"/>
                <a:gd name="connsiteX59" fmla="*/ 12700 w 331788"/>
                <a:gd name="connsiteY59" fmla="*/ 28215 h 328613"/>
                <a:gd name="connsiteX60" fmla="*/ 12700 w 331788"/>
                <a:gd name="connsiteY60" fmla="*/ 263525 h 328613"/>
                <a:gd name="connsiteX61" fmla="*/ 84931 w 331788"/>
                <a:gd name="connsiteY61" fmla="*/ 249303 h 328613"/>
                <a:gd name="connsiteX62" fmla="*/ 157163 w 331788"/>
                <a:gd name="connsiteY62" fmla="*/ 263525 h 328613"/>
                <a:gd name="connsiteX63" fmla="*/ 157163 w 331788"/>
                <a:gd name="connsiteY63" fmla="*/ 28215 h 328613"/>
                <a:gd name="connsiteX64" fmla="*/ 84931 w 331788"/>
                <a:gd name="connsiteY64" fmla="*/ 12700 h 328613"/>
                <a:gd name="connsiteX65" fmla="*/ 86835 w 331788"/>
                <a:gd name="connsiteY65" fmla="*/ 0 h 328613"/>
                <a:gd name="connsiteX66" fmla="*/ 165894 w 331788"/>
                <a:gd name="connsiteY66" fmla="*/ 15525 h 328613"/>
                <a:gd name="connsiteX67" fmla="*/ 244953 w 331788"/>
                <a:gd name="connsiteY67" fmla="*/ 0 h 328613"/>
                <a:gd name="connsiteX68" fmla="*/ 326604 w 331788"/>
                <a:gd name="connsiteY68" fmla="*/ 16819 h 328613"/>
                <a:gd name="connsiteX69" fmla="*/ 331788 w 331788"/>
                <a:gd name="connsiteY69" fmla="*/ 23288 h 328613"/>
                <a:gd name="connsiteX70" fmla="*/ 331788 w 331788"/>
                <a:gd name="connsiteY70" fmla="*/ 274276 h 328613"/>
                <a:gd name="connsiteX71" fmla="*/ 322716 w 331788"/>
                <a:gd name="connsiteY71" fmla="*/ 280744 h 328613"/>
                <a:gd name="connsiteX72" fmla="*/ 289019 w 331788"/>
                <a:gd name="connsiteY72" fmla="*/ 269101 h 328613"/>
                <a:gd name="connsiteX73" fmla="*/ 285130 w 331788"/>
                <a:gd name="connsiteY73" fmla="*/ 274276 h 328613"/>
                <a:gd name="connsiteX74" fmla="*/ 329196 w 331788"/>
                <a:gd name="connsiteY74" fmla="*/ 318263 h 328613"/>
                <a:gd name="connsiteX75" fmla="*/ 318828 w 331788"/>
                <a:gd name="connsiteY75" fmla="*/ 328613 h 328613"/>
                <a:gd name="connsiteX76" fmla="*/ 274762 w 331788"/>
                <a:gd name="connsiteY76" fmla="*/ 284626 h 328613"/>
                <a:gd name="connsiteX77" fmla="*/ 206072 w 331788"/>
                <a:gd name="connsiteY77" fmla="*/ 279451 h 328613"/>
                <a:gd name="connsiteX78" fmla="*/ 198295 w 331788"/>
                <a:gd name="connsiteY78" fmla="*/ 270394 h 328613"/>
                <a:gd name="connsiteX79" fmla="*/ 167190 w 331788"/>
                <a:gd name="connsiteY79" fmla="*/ 280744 h 328613"/>
                <a:gd name="connsiteX80" fmla="*/ 163302 w 331788"/>
                <a:gd name="connsiteY80" fmla="*/ 280744 h 328613"/>
                <a:gd name="connsiteX81" fmla="*/ 85539 w 331788"/>
                <a:gd name="connsiteY81" fmla="*/ 263926 h 328613"/>
                <a:gd name="connsiteX82" fmla="*/ 9072 w 331788"/>
                <a:gd name="connsiteY82" fmla="*/ 280744 h 328613"/>
                <a:gd name="connsiteX83" fmla="*/ 0 w 331788"/>
                <a:gd name="connsiteY83" fmla="*/ 274276 h 328613"/>
                <a:gd name="connsiteX84" fmla="*/ 0 w 331788"/>
                <a:gd name="connsiteY84" fmla="*/ 23288 h 328613"/>
                <a:gd name="connsiteX85" fmla="*/ 5184 w 331788"/>
                <a:gd name="connsiteY85" fmla="*/ 16819 h 328613"/>
                <a:gd name="connsiteX86" fmla="*/ 86835 w 331788"/>
                <a:gd name="connsiteY86" fmla="*/ 0 h 328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</a:cxnLst>
              <a:rect l="l" t="t" r="r" b="b"/>
              <a:pathLst>
                <a:path w="331788" h="328613">
                  <a:moveTo>
                    <a:pt x="242094" y="203585"/>
                  </a:moveTo>
                  <a:cubicBezTo>
                    <a:pt x="232062" y="203585"/>
                    <a:pt x="222031" y="207145"/>
                    <a:pt x="214264" y="214264"/>
                  </a:cubicBezTo>
                  <a:cubicBezTo>
                    <a:pt x="200025" y="229797"/>
                    <a:pt x="200025" y="254391"/>
                    <a:pt x="214264" y="269924"/>
                  </a:cubicBezTo>
                  <a:cubicBezTo>
                    <a:pt x="229797" y="284163"/>
                    <a:pt x="254391" y="284163"/>
                    <a:pt x="269924" y="269924"/>
                  </a:cubicBezTo>
                  <a:cubicBezTo>
                    <a:pt x="284163" y="254391"/>
                    <a:pt x="284163" y="229797"/>
                    <a:pt x="269924" y="214264"/>
                  </a:cubicBezTo>
                  <a:cubicBezTo>
                    <a:pt x="262158" y="207145"/>
                    <a:pt x="252126" y="203585"/>
                    <a:pt x="242094" y="203585"/>
                  </a:cubicBezTo>
                  <a:close/>
                  <a:moveTo>
                    <a:pt x="85725" y="200752"/>
                  </a:moveTo>
                  <a:cubicBezTo>
                    <a:pt x="102122" y="200752"/>
                    <a:pt x="118520" y="203067"/>
                    <a:pt x="136525" y="207698"/>
                  </a:cubicBezTo>
                  <a:cubicBezTo>
                    <a:pt x="136525" y="207698"/>
                    <a:pt x="136525" y="207698"/>
                    <a:pt x="132667" y="222250"/>
                  </a:cubicBezTo>
                  <a:cubicBezTo>
                    <a:pt x="99229" y="211667"/>
                    <a:pt x="72221" y="211667"/>
                    <a:pt x="38783" y="222250"/>
                  </a:cubicBezTo>
                  <a:cubicBezTo>
                    <a:pt x="38783" y="222250"/>
                    <a:pt x="38783" y="222250"/>
                    <a:pt x="34925" y="207698"/>
                  </a:cubicBezTo>
                  <a:cubicBezTo>
                    <a:pt x="52930" y="203067"/>
                    <a:pt x="69327" y="200752"/>
                    <a:pt x="85725" y="200752"/>
                  </a:cubicBezTo>
                  <a:close/>
                  <a:moveTo>
                    <a:pt x="86038" y="150283"/>
                  </a:moveTo>
                  <a:cubicBezTo>
                    <a:pt x="102226" y="150283"/>
                    <a:pt x="118574" y="152929"/>
                    <a:pt x="136525" y="158221"/>
                  </a:cubicBezTo>
                  <a:cubicBezTo>
                    <a:pt x="136525" y="158221"/>
                    <a:pt x="136525" y="158221"/>
                    <a:pt x="132678" y="171450"/>
                  </a:cubicBezTo>
                  <a:cubicBezTo>
                    <a:pt x="99341" y="162190"/>
                    <a:pt x="72414" y="162190"/>
                    <a:pt x="39076" y="171450"/>
                  </a:cubicBezTo>
                  <a:cubicBezTo>
                    <a:pt x="39076" y="171450"/>
                    <a:pt x="39076" y="171450"/>
                    <a:pt x="36512" y="158221"/>
                  </a:cubicBezTo>
                  <a:cubicBezTo>
                    <a:pt x="53822" y="152929"/>
                    <a:pt x="69850" y="150283"/>
                    <a:pt x="86038" y="150283"/>
                  </a:cubicBezTo>
                  <a:close/>
                  <a:moveTo>
                    <a:pt x="243681" y="148724"/>
                  </a:moveTo>
                  <a:cubicBezTo>
                    <a:pt x="260335" y="148724"/>
                    <a:pt x="276989" y="151398"/>
                    <a:pt x="295275" y="156745"/>
                  </a:cubicBezTo>
                  <a:cubicBezTo>
                    <a:pt x="295275" y="156745"/>
                    <a:pt x="295275" y="156745"/>
                    <a:pt x="292663" y="171450"/>
                  </a:cubicBezTo>
                  <a:cubicBezTo>
                    <a:pt x="257396" y="162092"/>
                    <a:pt x="231272" y="162092"/>
                    <a:pt x="197312" y="171450"/>
                  </a:cubicBezTo>
                  <a:cubicBezTo>
                    <a:pt x="197312" y="171450"/>
                    <a:pt x="197312" y="171450"/>
                    <a:pt x="192087" y="156745"/>
                  </a:cubicBezTo>
                  <a:cubicBezTo>
                    <a:pt x="210374" y="151398"/>
                    <a:pt x="227027" y="148724"/>
                    <a:pt x="243681" y="148724"/>
                  </a:cubicBezTo>
                  <a:close/>
                  <a:moveTo>
                    <a:pt x="86038" y="99483"/>
                  </a:moveTo>
                  <a:cubicBezTo>
                    <a:pt x="102226" y="99483"/>
                    <a:pt x="118574" y="102129"/>
                    <a:pt x="136525" y="107421"/>
                  </a:cubicBezTo>
                  <a:cubicBezTo>
                    <a:pt x="136525" y="107421"/>
                    <a:pt x="136525" y="107421"/>
                    <a:pt x="132678" y="120650"/>
                  </a:cubicBezTo>
                  <a:cubicBezTo>
                    <a:pt x="99341" y="111390"/>
                    <a:pt x="72414" y="111390"/>
                    <a:pt x="39076" y="120650"/>
                  </a:cubicBezTo>
                  <a:cubicBezTo>
                    <a:pt x="39076" y="120650"/>
                    <a:pt x="39076" y="120650"/>
                    <a:pt x="36512" y="107421"/>
                  </a:cubicBezTo>
                  <a:cubicBezTo>
                    <a:pt x="53822" y="102129"/>
                    <a:pt x="69850" y="99483"/>
                    <a:pt x="86038" y="99483"/>
                  </a:cubicBezTo>
                  <a:close/>
                  <a:moveTo>
                    <a:pt x="243681" y="99152"/>
                  </a:moveTo>
                  <a:cubicBezTo>
                    <a:pt x="260335" y="99152"/>
                    <a:pt x="276989" y="101467"/>
                    <a:pt x="295275" y="106098"/>
                  </a:cubicBezTo>
                  <a:cubicBezTo>
                    <a:pt x="295275" y="106098"/>
                    <a:pt x="295275" y="106098"/>
                    <a:pt x="292663" y="120650"/>
                  </a:cubicBezTo>
                  <a:cubicBezTo>
                    <a:pt x="257396" y="111390"/>
                    <a:pt x="231272" y="111390"/>
                    <a:pt x="196006" y="120650"/>
                  </a:cubicBezTo>
                  <a:cubicBezTo>
                    <a:pt x="196006" y="120650"/>
                    <a:pt x="196006" y="120650"/>
                    <a:pt x="192087" y="106098"/>
                  </a:cubicBezTo>
                  <a:cubicBezTo>
                    <a:pt x="210374" y="101467"/>
                    <a:pt x="227027" y="99152"/>
                    <a:pt x="243681" y="99152"/>
                  </a:cubicBezTo>
                  <a:close/>
                  <a:moveTo>
                    <a:pt x="243681" y="48711"/>
                  </a:moveTo>
                  <a:cubicBezTo>
                    <a:pt x="260335" y="48711"/>
                    <a:pt x="276989" y="51385"/>
                    <a:pt x="295275" y="56732"/>
                  </a:cubicBezTo>
                  <a:cubicBezTo>
                    <a:pt x="295275" y="56732"/>
                    <a:pt x="295275" y="56732"/>
                    <a:pt x="292663" y="71437"/>
                  </a:cubicBezTo>
                  <a:cubicBezTo>
                    <a:pt x="257396" y="60742"/>
                    <a:pt x="231272" y="60742"/>
                    <a:pt x="197312" y="71437"/>
                  </a:cubicBezTo>
                  <a:cubicBezTo>
                    <a:pt x="197312" y="71437"/>
                    <a:pt x="197312" y="71437"/>
                    <a:pt x="192087" y="56732"/>
                  </a:cubicBezTo>
                  <a:cubicBezTo>
                    <a:pt x="210374" y="51385"/>
                    <a:pt x="227027" y="48711"/>
                    <a:pt x="243681" y="48711"/>
                  </a:cubicBezTo>
                  <a:close/>
                  <a:moveTo>
                    <a:pt x="85725" y="48683"/>
                  </a:moveTo>
                  <a:cubicBezTo>
                    <a:pt x="102122" y="48683"/>
                    <a:pt x="118520" y="51329"/>
                    <a:pt x="136525" y="56621"/>
                  </a:cubicBezTo>
                  <a:cubicBezTo>
                    <a:pt x="136525" y="56621"/>
                    <a:pt x="136525" y="56621"/>
                    <a:pt x="132667" y="69850"/>
                  </a:cubicBezTo>
                  <a:cubicBezTo>
                    <a:pt x="99229" y="60590"/>
                    <a:pt x="72221" y="60590"/>
                    <a:pt x="38783" y="69850"/>
                  </a:cubicBezTo>
                  <a:lnTo>
                    <a:pt x="34925" y="56621"/>
                  </a:lnTo>
                  <a:cubicBezTo>
                    <a:pt x="52930" y="51329"/>
                    <a:pt x="69327" y="48683"/>
                    <a:pt x="85725" y="48683"/>
                  </a:cubicBezTo>
                  <a:close/>
                  <a:moveTo>
                    <a:pt x="245779" y="12700"/>
                  </a:moveTo>
                  <a:cubicBezTo>
                    <a:pt x="224915" y="12700"/>
                    <a:pt x="201443" y="16579"/>
                    <a:pt x="171450" y="28215"/>
                  </a:cubicBezTo>
                  <a:cubicBezTo>
                    <a:pt x="171450" y="28215"/>
                    <a:pt x="171450" y="28215"/>
                    <a:pt x="171450" y="263525"/>
                  </a:cubicBezTo>
                  <a:cubicBezTo>
                    <a:pt x="176666" y="262232"/>
                    <a:pt x="185794" y="259646"/>
                    <a:pt x="192314" y="257061"/>
                  </a:cubicBezTo>
                  <a:cubicBezTo>
                    <a:pt x="185794" y="238960"/>
                    <a:pt x="191010" y="219566"/>
                    <a:pt x="205355" y="205344"/>
                  </a:cubicBezTo>
                  <a:cubicBezTo>
                    <a:pt x="226219" y="184657"/>
                    <a:pt x="258819" y="184657"/>
                    <a:pt x="279684" y="205344"/>
                  </a:cubicBezTo>
                  <a:cubicBezTo>
                    <a:pt x="294028" y="218273"/>
                    <a:pt x="299244" y="238960"/>
                    <a:pt x="294028" y="257061"/>
                  </a:cubicBezTo>
                  <a:cubicBezTo>
                    <a:pt x="301852" y="258353"/>
                    <a:pt x="312284" y="262232"/>
                    <a:pt x="317500" y="263525"/>
                  </a:cubicBezTo>
                  <a:lnTo>
                    <a:pt x="317500" y="28215"/>
                  </a:lnTo>
                  <a:cubicBezTo>
                    <a:pt x="288812" y="17872"/>
                    <a:pt x="266643" y="12700"/>
                    <a:pt x="245779" y="12700"/>
                  </a:cubicBezTo>
                  <a:close/>
                  <a:moveTo>
                    <a:pt x="84931" y="12700"/>
                  </a:moveTo>
                  <a:cubicBezTo>
                    <a:pt x="63004" y="12700"/>
                    <a:pt x="42366" y="17872"/>
                    <a:pt x="12700" y="28215"/>
                  </a:cubicBezTo>
                  <a:cubicBezTo>
                    <a:pt x="12700" y="28215"/>
                    <a:pt x="12700" y="28215"/>
                    <a:pt x="12700" y="263525"/>
                  </a:cubicBezTo>
                  <a:cubicBezTo>
                    <a:pt x="41077" y="254475"/>
                    <a:pt x="63004" y="249303"/>
                    <a:pt x="84931" y="249303"/>
                  </a:cubicBezTo>
                  <a:cubicBezTo>
                    <a:pt x="106859" y="249303"/>
                    <a:pt x="128786" y="254475"/>
                    <a:pt x="157163" y="263525"/>
                  </a:cubicBezTo>
                  <a:lnTo>
                    <a:pt x="157163" y="28215"/>
                  </a:lnTo>
                  <a:cubicBezTo>
                    <a:pt x="128786" y="17872"/>
                    <a:pt x="106859" y="12700"/>
                    <a:pt x="84931" y="12700"/>
                  </a:cubicBezTo>
                  <a:close/>
                  <a:moveTo>
                    <a:pt x="86835" y="0"/>
                  </a:moveTo>
                  <a:cubicBezTo>
                    <a:pt x="110164" y="0"/>
                    <a:pt x="133493" y="5175"/>
                    <a:pt x="165894" y="15525"/>
                  </a:cubicBezTo>
                  <a:cubicBezTo>
                    <a:pt x="198295" y="5175"/>
                    <a:pt x="221624" y="0"/>
                    <a:pt x="244953" y="0"/>
                  </a:cubicBezTo>
                  <a:cubicBezTo>
                    <a:pt x="269578" y="0"/>
                    <a:pt x="294203" y="5175"/>
                    <a:pt x="326604" y="16819"/>
                  </a:cubicBezTo>
                  <a:cubicBezTo>
                    <a:pt x="329196" y="18113"/>
                    <a:pt x="331788" y="20700"/>
                    <a:pt x="331788" y="23288"/>
                  </a:cubicBezTo>
                  <a:cubicBezTo>
                    <a:pt x="331788" y="23288"/>
                    <a:pt x="331788" y="23288"/>
                    <a:pt x="331788" y="274276"/>
                  </a:cubicBezTo>
                  <a:cubicBezTo>
                    <a:pt x="331788" y="280744"/>
                    <a:pt x="325308" y="280744"/>
                    <a:pt x="322716" y="280744"/>
                  </a:cubicBezTo>
                  <a:cubicBezTo>
                    <a:pt x="313643" y="276863"/>
                    <a:pt x="299387" y="272982"/>
                    <a:pt x="289019" y="269101"/>
                  </a:cubicBezTo>
                  <a:cubicBezTo>
                    <a:pt x="287723" y="271688"/>
                    <a:pt x="286427" y="272982"/>
                    <a:pt x="285130" y="274276"/>
                  </a:cubicBezTo>
                  <a:cubicBezTo>
                    <a:pt x="285130" y="274276"/>
                    <a:pt x="285130" y="274276"/>
                    <a:pt x="329196" y="318263"/>
                  </a:cubicBezTo>
                  <a:cubicBezTo>
                    <a:pt x="329196" y="318263"/>
                    <a:pt x="329196" y="318263"/>
                    <a:pt x="318828" y="328613"/>
                  </a:cubicBezTo>
                  <a:cubicBezTo>
                    <a:pt x="318828" y="328613"/>
                    <a:pt x="318828" y="328613"/>
                    <a:pt x="274762" y="284626"/>
                  </a:cubicBezTo>
                  <a:cubicBezTo>
                    <a:pt x="254025" y="300151"/>
                    <a:pt x="224216" y="298857"/>
                    <a:pt x="206072" y="279451"/>
                  </a:cubicBezTo>
                  <a:cubicBezTo>
                    <a:pt x="202183" y="276863"/>
                    <a:pt x="200887" y="274276"/>
                    <a:pt x="198295" y="270394"/>
                  </a:cubicBezTo>
                  <a:cubicBezTo>
                    <a:pt x="189223" y="272982"/>
                    <a:pt x="174966" y="278157"/>
                    <a:pt x="167190" y="280744"/>
                  </a:cubicBezTo>
                  <a:cubicBezTo>
                    <a:pt x="165894" y="280744"/>
                    <a:pt x="164598" y="280744"/>
                    <a:pt x="163302" y="280744"/>
                  </a:cubicBezTo>
                  <a:cubicBezTo>
                    <a:pt x="130901" y="269101"/>
                    <a:pt x="108868" y="263926"/>
                    <a:pt x="85539" y="263926"/>
                  </a:cubicBezTo>
                  <a:cubicBezTo>
                    <a:pt x="63506" y="263926"/>
                    <a:pt x="40177" y="269101"/>
                    <a:pt x="9072" y="280744"/>
                  </a:cubicBezTo>
                  <a:cubicBezTo>
                    <a:pt x="6480" y="280744"/>
                    <a:pt x="0" y="280744"/>
                    <a:pt x="0" y="274276"/>
                  </a:cubicBezTo>
                  <a:cubicBezTo>
                    <a:pt x="0" y="274276"/>
                    <a:pt x="0" y="274276"/>
                    <a:pt x="0" y="23288"/>
                  </a:cubicBezTo>
                  <a:cubicBezTo>
                    <a:pt x="0" y="20700"/>
                    <a:pt x="2592" y="18113"/>
                    <a:pt x="5184" y="16819"/>
                  </a:cubicBezTo>
                  <a:cubicBezTo>
                    <a:pt x="37585" y="5175"/>
                    <a:pt x="62210" y="0"/>
                    <a:pt x="8683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2" name="组合 1"/>
            <p:cNvGrpSpPr/>
            <p:nvPr/>
          </p:nvGrpSpPr>
          <p:grpSpPr>
            <a:xfrm>
              <a:off x="480" y="4543"/>
              <a:ext cx="2719" cy="1728"/>
              <a:chOff x="6723970" y="2930779"/>
              <a:chExt cx="2241974" cy="1096881"/>
            </a:xfrm>
          </p:grpSpPr>
          <p:sp>
            <p:nvSpPr>
              <p:cNvPr id="3" name="矩形 2"/>
              <p:cNvSpPr/>
              <p:nvPr/>
            </p:nvSpPr>
            <p:spPr>
              <a:xfrm>
                <a:off x="6871280" y="3285516"/>
                <a:ext cx="1947353" cy="742144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+mn-ea"/>
                    <a:sym typeface="+mn-lt"/>
                  </a:rPr>
                  <a:t>Click here to add content, content to match the title. </a:t>
                </a:r>
                <a:endPara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" name="矩形 3"/>
              <p:cNvSpPr/>
              <p:nvPr/>
            </p:nvSpPr>
            <p:spPr>
              <a:xfrm>
                <a:off x="6723970" y="2930779"/>
                <a:ext cx="2241974" cy="298640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1200" b="1" dirty="0">
                    <a:solidFill>
                      <a:srgbClr val="9D6BAB"/>
                    </a:solidFill>
                    <a:cs typeface="+mn-ea"/>
                    <a:sym typeface="+mn-lt"/>
                  </a:rPr>
                  <a:t>Add title text</a:t>
                </a:r>
                <a:endParaRPr lang="zh-CN" altLang="en-US" sz="1200" b="1" dirty="0">
                  <a:solidFill>
                    <a:srgbClr val="9D6BAB"/>
                  </a:solidFill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21" name="组合 20"/>
          <p:cNvGrpSpPr/>
          <p:nvPr/>
        </p:nvGrpSpPr>
        <p:grpSpPr>
          <a:xfrm>
            <a:off x="2157730" y="1517015"/>
            <a:ext cx="1726565" cy="2465070"/>
            <a:chOff x="3398" y="2389"/>
            <a:chExt cx="2719" cy="3882"/>
          </a:xfrm>
        </p:grpSpPr>
        <p:sp>
          <p:nvSpPr>
            <p:cNvPr id="11" name="椭圆 10"/>
            <p:cNvSpPr/>
            <p:nvPr/>
          </p:nvSpPr>
          <p:spPr>
            <a:xfrm>
              <a:off x="3822" y="2389"/>
              <a:ext cx="1871" cy="1871"/>
            </a:xfrm>
            <a:prstGeom prst="ellipse">
              <a:avLst/>
            </a:prstGeom>
            <a:solidFill>
              <a:srgbClr val="BFC3E7">
                <a:alpha val="8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9" name="椭圆 24"/>
            <p:cNvSpPr/>
            <p:nvPr/>
          </p:nvSpPr>
          <p:spPr>
            <a:xfrm>
              <a:off x="4263" y="2835"/>
              <a:ext cx="989" cy="980"/>
            </a:xfrm>
            <a:custGeom>
              <a:avLst/>
              <a:gdLst>
                <a:gd name="connsiteX0" fmla="*/ 57150 w 331788"/>
                <a:gd name="connsiteY0" fmla="*/ 244475 h 328613"/>
                <a:gd name="connsiteX1" fmla="*/ 190500 w 331788"/>
                <a:gd name="connsiteY1" fmla="*/ 244475 h 328613"/>
                <a:gd name="connsiteX2" fmla="*/ 179388 w 331788"/>
                <a:gd name="connsiteY2" fmla="*/ 266700 h 328613"/>
                <a:gd name="connsiteX3" fmla="*/ 44450 w 331788"/>
                <a:gd name="connsiteY3" fmla="*/ 266700 h 328613"/>
                <a:gd name="connsiteX4" fmla="*/ 238052 w 331788"/>
                <a:gd name="connsiteY4" fmla="*/ 236537 h 328613"/>
                <a:gd name="connsiteX5" fmla="*/ 267850 w 331788"/>
                <a:gd name="connsiteY5" fmla="*/ 306387 h 328613"/>
                <a:gd name="connsiteX6" fmla="*/ 308012 w 331788"/>
                <a:gd name="connsiteY6" fmla="*/ 236537 h 328613"/>
                <a:gd name="connsiteX7" fmla="*/ 238052 w 331788"/>
                <a:gd name="connsiteY7" fmla="*/ 236537 h 328613"/>
                <a:gd name="connsiteX8" fmla="*/ 79375 w 331788"/>
                <a:gd name="connsiteY8" fmla="*/ 198437 h 328613"/>
                <a:gd name="connsiteX9" fmla="*/ 211138 w 331788"/>
                <a:gd name="connsiteY9" fmla="*/ 198437 h 328613"/>
                <a:gd name="connsiteX10" fmla="*/ 200026 w 331788"/>
                <a:gd name="connsiteY10" fmla="*/ 220662 h 328613"/>
                <a:gd name="connsiteX11" fmla="*/ 66675 w 331788"/>
                <a:gd name="connsiteY11" fmla="*/ 220662 h 328613"/>
                <a:gd name="connsiteX12" fmla="*/ 98425 w 331788"/>
                <a:gd name="connsiteY12" fmla="*/ 152400 h 328613"/>
                <a:gd name="connsiteX13" fmla="*/ 230187 w 331788"/>
                <a:gd name="connsiteY13" fmla="*/ 152400 h 328613"/>
                <a:gd name="connsiteX14" fmla="*/ 220662 w 331788"/>
                <a:gd name="connsiteY14" fmla="*/ 174625 h 328613"/>
                <a:gd name="connsiteX15" fmla="*/ 87312 w 331788"/>
                <a:gd name="connsiteY15" fmla="*/ 174625 h 328613"/>
                <a:gd name="connsiteX16" fmla="*/ 267855 w 331788"/>
                <a:gd name="connsiteY16" fmla="*/ 20637 h 328613"/>
                <a:gd name="connsiteX17" fmla="*/ 230188 w 331788"/>
                <a:gd name="connsiteY17" fmla="*/ 108828 h 328613"/>
                <a:gd name="connsiteX18" fmla="*/ 234084 w 331788"/>
                <a:gd name="connsiteY18" fmla="*/ 116610 h 328613"/>
                <a:gd name="connsiteX19" fmla="*/ 224992 w 331788"/>
                <a:gd name="connsiteY19" fmla="*/ 125688 h 328613"/>
                <a:gd name="connsiteX20" fmla="*/ 78221 w 331788"/>
                <a:gd name="connsiteY20" fmla="*/ 125688 h 328613"/>
                <a:gd name="connsiteX21" fmla="*/ 28864 w 331788"/>
                <a:gd name="connsiteY21" fmla="*/ 224255 h 328613"/>
                <a:gd name="connsiteX22" fmla="*/ 15875 w 331788"/>
                <a:gd name="connsiteY22" fmla="*/ 263164 h 328613"/>
                <a:gd name="connsiteX23" fmla="*/ 60036 w 331788"/>
                <a:gd name="connsiteY23" fmla="*/ 311150 h 328613"/>
                <a:gd name="connsiteX24" fmla="*/ 232786 w 331788"/>
                <a:gd name="connsiteY24" fmla="*/ 311150 h 328613"/>
                <a:gd name="connsiteX25" fmla="*/ 205509 w 331788"/>
                <a:gd name="connsiteY25" fmla="*/ 263164 h 328613"/>
                <a:gd name="connsiteX26" fmla="*/ 232786 w 331788"/>
                <a:gd name="connsiteY26" fmla="*/ 213880 h 328613"/>
                <a:gd name="connsiteX27" fmla="*/ 314614 w 331788"/>
                <a:gd name="connsiteY27" fmla="*/ 69920 h 328613"/>
                <a:gd name="connsiteX28" fmla="*/ 267855 w 331788"/>
                <a:gd name="connsiteY28" fmla="*/ 20637 h 328613"/>
                <a:gd name="connsiteX29" fmla="*/ 64098 w 331788"/>
                <a:gd name="connsiteY29" fmla="*/ 17462 h 328613"/>
                <a:gd name="connsiteX30" fmla="*/ 17178 w 331788"/>
                <a:gd name="connsiteY30" fmla="*/ 65291 h 328613"/>
                <a:gd name="connsiteX31" fmla="*/ 31515 w 331788"/>
                <a:gd name="connsiteY31" fmla="*/ 107950 h 328613"/>
                <a:gd name="connsiteX32" fmla="*/ 211373 w 331788"/>
                <a:gd name="connsiteY32" fmla="*/ 107950 h 328613"/>
                <a:gd name="connsiteX33" fmla="*/ 202250 w 331788"/>
                <a:gd name="connsiteY33" fmla="*/ 65291 h 328613"/>
                <a:gd name="connsiteX34" fmla="*/ 227013 w 331788"/>
                <a:gd name="connsiteY34" fmla="*/ 17462 h 328613"/>
                <a:gd name="connsiteX35" fmla="*/ 64098 w 331788"/>
                <a:gd name="connsiteY35" fmla="*/ 17462 h 328613"/>
                <a:gd name="connsiteX36" fmla="*/ 66098 w 331788"/>
                <a:gd name="connsiteY36" fmla="*/ 0 h 328613"/>
                <a:gd name="connsiteX37" fmla="*/ 263098 w 331788"/>
                <a:gd name="connsiteY37" fmla="*/ 0 h 328613"/>
                <a:gd name="connsiteX38" fmla="*/ 331788 w 331788"/>
                <a:gd name="connsiteY38" fmla="*/ 69862 h 328613"/>
                <a:gd name="connsiteX39" fmla="*/ 255321 w 331788"/>
                <a:gd name="connsiteY39" fmla="*/ 217350 h 328613"/>
                <a:gd name="connsiteX40" fmla="*/ 304571 w 331788"/>
                <a:gd name="connsiteY40" fmla="*/ 217350 h 328613"/>
                <a:gd name="connsiteX41" fmla="*/ 322716 w 331788"/>
                <a:gd name="connsiteY41" fmla="*/ 228994 h 328613"/>
                <a:gd name="connsiteX42" fmla="*/ 331788 w 331788"/>
                <a:gd name="connsiteY42" fmla="*/ 262632 h 328613"/>
                <a:gd name="connsiteX43" fmla="*/ 256617 w 331788"/>
                <a:gd name="connsiteY43" fmla="*/ 327319 h 328613"/>
                <a:gd name="connsiteX44" fmla="*/ 57026 w 331788"/>
                <a:gd name="connsiteY44" fmla="*/ 328613 h 328613"/>
                <a:gd name="connsiteX45" fmla="*/ 0 w 331788"/>
                <a:gd name="connsiteY45" fmla="*/ 262632 h 328613"/>
                <a:gd name="connsiteX46" fmla="*/ 19441 w 331788"/>
                <a:gd name="connsiteY46" fmla="*/ 209588 h 328613"/>
                <a:gd name="connsiteX47" fmla="*/ 60914 w 331788"/>
                <a:gd name="connsiteY47" fmla="*/ 125494 h 328613"/>
                <a:gd name="connsiteX48" fmla="*/ 33697 w 331788"/>
                <a:gd name="connsiteY48" fmla="*/ 125494 h 328613"/>
                <a:gd name="connsiteX49" fmla="*/ 19441 w 331788"/>
                <a:gd name="connsiteY49" fmla="*/ 119025 h 328613"/>
                <a:gd name="connsiteX50" fmla="*/ 0 w 331788"/>
                <a:gd name="connsiteY50" fmla="*/ 69862 h 328613"/>
                <a:gd name="connsiteX51" fmla="*/ 66098 w 331788"/>
                <a:gd name="connsiteY51" fmla="*/ 0 h 328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31788" h="328613">
                  <a:moveTo>
                    <a:pt x="57150" y="244475"/>
                  </a:moveTo>
                  <a:lnTo>
                    <a:pt x="190500" y="244475"/>
                  </a:lnTo>
                  <a:lnTo>
                    <a:pt x="179388" y="266700"/>
                  </a:lnTo>
                  <a:lnTo>
                    <a:pt x="44450" y="266700"/>
                  </a:lnTo>
                  <a:close/>
                  <a:moveTo>
                    <a:pt x="238052" y="236537"/>
                  </a:moveTo>
                  <a:cubicBezTo>
                    <a:pt x="209550" y="263701"/>
                    <a:pt x="238052" y="306387"/>
                    <a:pt x="267850" y="306387"/>
                  </a:cubicBezTo>
                  <a:cubicBezTo>
                    <a:pt x="314490" y="306387"/>
                    <a:pt x="322263" y="253353"/>
                    <a:pt x="308012" y="236537"/>
                  </a:cubicBezTo>
                  <a:cubicBezTo>
                    <a:pt x="308012" y="236537"/>
                    <a:pt x="308012" y="236537"/>
                    <a:pt x="238052" y="236537"/>
                  </a:cubicBezTo>
                  <a:close/>
                  <a:moveTo>
                    <a:pt x="79375" y="198437"/>
                  </a:moveTo>
                  <a:lnTo>
                    <a:pt x="211138" y="198437"/>
                  </a:lnTo>
                  <a:lnTo>
                    <a:pt x="200026" y="220662"/>
                  </a:lnTo>
                  <a:lnTo>
                    <a:pt x="66675" y="220662"/>
                  </a:lnTo>
                  <a:close/>
                  <a:moveTo>
                    <a:pt x="98425" y="152400"/>
                  </a:moveTo>
                  <a:lnTo>
                    <a:pt x="230187" y="152400"/>
                  </a:lnTo>
                  <a:lnTo>
                    <a:pt x="220662" y="174625"/>
                  </a:lnTo>
                  <a:lnTo>
                    <a:pt x="87312" y="174625"/>
                  </a:lnTo>
                  <a:close/>
                  <a:moveTo>
                    <a:pt x="267855" y="20637"/>
                  </a:moveTo>
                  <a:cubicBezTo>
                    <a:pt x="208107" y="20637"/>
                    <a:pt x="215900" y="84187"/>
                    <a:pt x="230188" y="108828"/>
                  </a:cubicBezTo>
                  <a:cubicBezTo>
                    <a:pt x="231487" y="111422"/>
                    <a:pt x="232786" y="114016"/>
                    <a:pt x="234084" y="116610"/>
                  </a:cubicBezTo>
                  <a:cubicBezTo>
                    <a:pt x="235383" y="117907"/>
                    <a:pt x="236682" y="125688"/>
                    <a:pt x="224992" y="125688"/>
                  </a:cubicBezTo>
                  <a:cubicBezTo>
                    <a:pt x="224992" y="125688"/>
                    <a:pt x="224992" y="125688"/>
                    <a:pt x="78221" y="125688"/>
                  </a:cubicBezTo>
                  <a:cubicBezTo>
                    <a:pt x="74324" y="165893"/>
                    <a:pt x="44450" y="202207"/>
                    <a:pt x="28864" y="224255"/>
                  </a:cubicBezTo>
                  <a:cubicBezTo>
                    <a:pt x="21070" y="237225"/>
                    <a:pt x="15875" y="248897"/>
                    <a:pt x="15875" y="263164"/>
                  </a:cubicBezTo>
                  <a:cubicBezTo>
                    <a:pt x="15875" y="287805"/>
                    <a:pt x="35358" y="309853"/>
                    <a:pt x="60036" y="311150"/>
                  </a:cubicBezTo>
                  <a:lnTo>
                    <a:pt x="232786" y="311150"/>
                  </a:lnTo>
                  <a:cubicBezTo>
                    <a:pt x="217199" y="300775"/>
                    <a:pt x="205509" y="282618"/>
                    <a:pt x="205509" y="263164"/>
                  </a:cubicBezTo>
                  <a:cubicBezTo>
                    <a:pt x="205509" y="242412"/>
                    <a:pt x="217199" y="226849"/>
                    <a:pt x="232786" y="213880"/>
                  </a:cubicBezTo>
                  <a:cubicBezTo>
                    <a:pt x="232786" y="213880"/>
                    <a:pt x="312016" y="143846"/>
                    <a:pt x="314614" y="69920"/>
                  </a:cubicBezTo>
                  <a:cubicBezTo>
                    <a:pt x="315913" y="42685"/>
                    <a:pt x="295131" y="20637"/>
                    <a:pt x="267855" y="20637"/>
                  </a:cubicBezTo>
                  <a:close/>
                  <a:moveTo>
                    <a:pt x="64098" y="17462"/>
                  </a:moveTo>
                  <a:cubicBezTo>
                    <a:pt x="39335" y="17462"/>
                    <a:pt x="17178" y="39438"/>
                    <a:pt x="17178" y="65291"/>
                  </a:cubicBezTo>
                  <a:cubicBezTo>
                    <a:pt x="15875" y="93730"/>
                    <a:pt x="31515" y="107950"/>
                    <a:pt x="31515" y="107950"/>
                  </a:cubicBezTo>
                  <a:lnTo>
                    <a:pt x="211373" y="107950"/>
                  </a:lnTo>
                  <a:cubicBezTo>
                    <a:pt x="204857" y="95023"/>
                    <a:pt x="202250" y="78218"/>
                    <a:pt x="202250" y="65291"/>
                  </a:cubicBezTo>
                  <a:cubicBezTo>
                    <a:pt x="202250" y="45901"/>
                    <a:pt x="212677" y="27803"/>
                    <a:pt x="227013" y="17462"/>
                  </a:cubicBezTo>
                  <a:cubicBezTo>
                    <a:pt x="227013" y="17462"/>
                    <a:pt x="227013" y="17462"/>
                    <a:pt x="64098" y="17462"/>
                  </a:cubicBezTo>
                  <a:close/>
                  <a:moveTo>
                    <a:pt x="66098" y="0"/>
                  </a:moveTo>
                  <a:cubicBezTo>
                    <a:pt x="66098" y="0"/>
                    <a:pt x="66098" y="0"/>
                    <a:pt x="263098" y="0"/>
                  </a:cubicBezTo>
                  <a:cubicBezTo>
                    <a:pt x="300683" y="0"/>
                    <a:pt x="331788" y="31050"/>
                    <a:pt x="331788" y="69862"/>
                  </a:cubicBezTo>
                  <a:cubicBezTo>
                    <a:pt x="331788" y="137138"/>
                    <a:pt x="278650" y="194063"/>
                    <a:pt x="255321" y="217350"/>
                  </a:cubicBezTo>
                  <a:cubicBezTo>
                    <a:pt x="255321" y="217350"/>
                    <a:pt x="255321" y="217350"/>
                    <a:pt x="304571" y="217350"/>
                  </a:cubicBezTo>
                  <a:cubicBezTo>
                    <a:pt x="312347" y="217350"/>
                    <a:pt x="318828" y="222525"/>
                    <a:pt x="322716" y="228994"/>
                  </a:cubicBezTo>
                  <a:cubicBezTo>
                    <a:pt x="329196" y="239344"/>
                    <a:pt x="331788" y="250988"/>
                    <a:pt x="331788" y="262632"/>
                  </a:cubicBezTo>
                  <a:cubicBezTo>
                    <a:pt x="331788" y="300151"/>
                    <a:pt x="295499" y="327319"/>
                    <a:pt x="256617" y="327319"/>
                  </a:cubicBezTo>
                  <a:cubicBezTo>
                    <a:pt x="250137" y="327319"/>
                    <a:pt x="58322" y="328613"/>
                    <a:pt x="57026" y="328613"/>
                  </a:cubicBezTo>
                  <a:cubicBezTo>
                    <a:pt x="22033" y="324732"/>
                    <a:pt x="0" y="297563"/>
                    <a:pt x="0" y="262632"/>
                  </a:cubicBezTo>
                  <a:cubicBezTo>
                    <a:pt x="0" y="232875"/>
                    <a:pt x="19441" y="209588"/>
                    <a:pt x="19441" y="209588"/>
                  </a:cubicBezTo>
                  <a:cubicBezTo>
                    <a:pt x="64802" y="147488"/>
                    <a:pt x="60914" y="125494"/>
                    <a:pt x="60914" y="125494"/>
                  </a:cubicBezTo>
                  <a:cubicBezTo>
                    <a:pt x="60914" y="125494"/>
                    <a:pt x="60914" y="125494"/>
                    <a:pt x="33697" y="125494"/>
                  </a:cubicBezTo>
                  <a:cubicBezTo>
                    <a:pt x="28513" y="125494"/>
                    <a:pt x="23329" y="122906"/>
                    <a:pt x="19441" y="119025"/>
                  </a:cubicBezTo>
                  <a:cubicBezTo>
                    <a:pt x="6480" y="106088"/>
                    <a:pt x="0" y="87975"/>
                    <a:pt x="0" y="69862"/>
                  </a:cubicBezTo>
                  <a:cubicBezTo>
                    <a:pt x="0" y="34931"/>
                    <a:pt x="28513" y="0"/>
                    <a:pt x="6609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5" name="组合 4"/>
            <p:cNvGrpSpPr/>
            <p:nvPr/>
          </p:nvGrpSpPr>
          <p:grpSpPr>
            <a:xfrm>
              <a:off x="3398" y="4543"/>
              <a:ext cx="2719" cy="1728"/>
              <a:chOff x="6723970" y="2930779"/>
              <a:chExt cx="2241974" cy="1096881"/>
            </a:xfrm>
          </p:grpSpPr>
          <p:sp>
            <p:nvSpPr>
              <p:cNvPr id="6" name="矩形 5"/>
              <p:cNvSpPr/>
              <p:nvPr/>
            </p:nvSpPr>
            <p:spPr>
              <a:xfrm>
                <a:off x="6871280" y="3285516"/>
                <a:ext cx="1947353" cy="742144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+mn-ea"/>
                    <a:sym typeface="+mn-lt"/>
                  </a:rPr>
                  <a:t>Click here to add content, content to match the title. </a:t>
                </a:r>
                <a:endPara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8" name="矩形 7"/>
              <p:cNvSpPr/>
              <p:nvPr/>
            </p:nvSpPr>
            <p:spPr>
              <a:xfrm>
                <a:off x="6723970" y="2930779"/>
                <a:ext cx="2241974" cy="298640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1200" b="1" dirty="0">
                    <a:solidFill>
                      <a:srgbClr val="9D6BAB"/>
                    </a:solidFill>
                    <a:cs typeface="+mn-ea"/>
                    <a:sym typeface="+mn-lt"/>
                  </a:rPr>
                  <a:t>Add title text</a:t>
                </a:r>
                <a:endParaRPr lang="zh-CN" altLang="en-US" sz="1200" b="1" dirty="0">
                  <a:solidFill>
                    <a:srgbClr val="9D6BAB"/>
                  </a:solidFill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22" name="组合 21"/>
          <p:cNvGrpSpPr/>
          <p:nvPr/>
        </p:nvGrpSpPr>
        <p:grpSpPr>
          <a:xfrm>
            <a:off x="3997960" y="1517015"/>
            <a:ext cx="1726565" cy="2479040"/>
            <a:chOff x="6296" y="2389"/>
            <a:chExt cx="2719" cy="3904"/>
          </a:xfrm>
        </p:grpSpPr>
        <p:sp>
          <p:nvSpPr>
            <p:cNvPr id="12" name="椭圆 11"/>
            <p:cNvSpPr/>
            <p:nvPr/>
          </p:nvSpPr>
          <p:spPr>
            <a:xfrm>
              <a:off x="6720" y="2389"/>
              <a:ext cx="1871" cy="1871"/>
            </a:xfrm>
            <a:prstGeom prst="ellipse">
              <a:avLst/>
            </a:prstGeom>
            <a:solidFill>
              <a:srgbClr val="B1B5E1">
                <a:alpha val="8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0" name="椭圆 25"/>
            <p:cNvSpPr/>
            <p:nvPr/>
          </p:nvSpPr>
          <p:spPr>
            <a:xfrm>
              <a:off x="7279" y="2709"/>
              <a:ext cx="753" cy="1016"/>
            </a:xfrm>
            <a:custGeom>
              <a:avLst/>
              <a:gdLst>
                <a:gd name="connsiteX0" fmla="*/ 66675 w 241300"/>
                <a:gd name="connsiteY0" fmla="*/ 265113 h 325437"/>
                <a:gd name="connsiteX1" fmla="*/ 42862 w 241300"/>
                <a:gd name="connsiteY1" fmla="*/ 301626 h 325437"/>
                <a:gd name="connsiteX2" fmla="*/ 198437 w 241300"/>
                <a:gd name="connsiteY2" fmla="*/ 301626 h 325437"/>
                <a:gd name="connsiteX3" fmla="*/ 174625 w 241300"/>
                <a:gd name="connsiteY3" fmla="*/ 265113 h 325437"/>
                <a:gd name="connsiteX4" fmla="*/ 103187 w 241300"/>
                <a:gd name="connsiteY4" fmla="*/ 120650 h 325437"/>
                <a:gd name="connsiteX5" fmla="*/ 103187 w 241300"/>
                <a:gd name="connsiteY5" fmla="*/ 204788 h 325437"/>
                <a:gd name="connsiteX6" fmla="*/ 77787 w 241300"/>
                <a:gd name="connsiteY6" fmla="*/ 241300 h 325437"/>
                <a:gd name="connsiteX7" fmla="*/ 163512 w 241300"/>
                <a:gd name="connsiteY7" fmla="*/ 241300 h 325437"/>
                <a:gd name="connsiteX8" fmla="*/ 138112 w 241300"/>
                <a:gd name="connsiteY8" fmla="*/ 204788 h 325437"/>
                <a:gd name="connsiteX9" fmla="*/ 138112 w 241300"/>
                <a:gd name="connsiteY9" fmla="*/ 120650 h 325437"/>
                <a:gd name="connsiteX10" fmla="*/ 66675 w 241300"/>
                <a:gd name="connsiteY10" fmla="*/ 96837 h 325437"/>
                <a:gd name="connsiteX11" fmla="*/ 174625 w 241300"/>
                <a:gd name="connsiteY11" fmla="*/ 96837 h 325437"/>
                <a:gd name="connsiteX12" fmla="*/ 174625 w 241300"/>
                <a:gd name="connsiteY12" fmla="*/ 120650 h 325437"/>
                <a:gd name="connsiteX13" fmla="*/ 163513 w 241300"/>
                <a:gd name="connsiteY13" fmla="*/ 120650 h 325437"/>
                <a:gd name="connsiteX14" fmla="*/ 163513 w 241300"/>
                <a:gd name="connsiteY14" fmla="*/ 198437 h 325437"/>
                <a:gd name="connsiteX15" fmla="*/ 241300 w 241300"/>
                <a:gd name="connsiteY15" fmla="*/ 325437 h 325437"/>
                <a:gd name="connsiteX16" fmla="*/ 0 w 241300"/>
                <a:gd name="connsiteY16" fmla="*/ 325437 h 325437"/>
                <a:gd name="connsiteX17" fmla="*/ 77788 w 241300"/>
                <a:gd name="connsiteY17" fmla="*/ 198437 h 325437"/>
                <a:gd name="connsiteX18" fmla="*/ 77788 w 241300"/>
                <a:gd name="connsiteY18" fmla="*/ 120650 h 325437"/>
                <a:gd name="connsiteX19" fmla="*/ 66675 w 241300"/>
                <a:gd name="connsiteY19" fmla="*/ 120650 h 325437"/>
                <a:gd name="connsiteX20" fmla="*/ 70644 w 241300"/>
                <a:gd name="connsiteY20" fmla="*/ 38100 h 325437"/>
                <a:gd name="connsiteX21" fmla="*/ 85726 w 241300"/>
                <a:gd name="connsiteY21" fmla="*/ 53182 h 325437"/>
                <a:gd name="connsiteX22" fmla="*/ 70644 w 241300"/>
                <a:gd name="connsiteY22" fmla="*/ 68264 h 325437"/>
                <a:gd name="connsiteX23" fmla="*/ 55562 w 241300"/>
                <a:gd name="connsiteY23" fmla="*/ 53182 h 325437"/>
                <a:gd name="connsiteX24" fmla="*/ 70644 w 241300"/>
                <a:gd name="connsiteY24" fmla="*/ 38100 h 325437"/>
                <a:gd name="connsiteX25" fmla="*/ 146051 w 241300"/>
                <a:gd name="connsiteY25" fmla="*/ 0 h 325437"/>
                <a:gd name="connsiteX26" fmla="*/ 169864 w 241300"/>
                <a:gd name="connsiteY26" fmla="*/ 23813 h 325437"/>
                <a:gd name="connsiteX27" fmla="*/ 146051 w 241300"/>
                <a:gd name="connsiteY27" fmla="*/ 47626 h 325437"/>
                <a:gd name="connsiteX28" fmla="*/ 122238 w 241300"/>
                <a:gd name="connsiteY28" fmla="*/ 23813 h 325437"/>
                <a:gd name="connsiteX29" fmla="*/ 146051 w 241300"/>
                <a:gd name="connsiteY29" fmla="*/ 0 h 325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241300" h="325437">
                  <a:moveTo>
                    <a:pt x="66675" y="265113"/>
                  </a:moveTo>
                  <a:lnTo>
                    <a:pt x="42862" y="301626"/>
                  </a:lnTo>
                  <a:lnTo>
                    <a:pt x="198437" y="301626"/>
                  </a:lnTo>
                  <a:lnTo>
                    <a:pt x="174625" y="265113"/>
                  </a:lnTo>
                  <a:close/>
                  <a:moveTo>
                    <a:pt x="103187" y="120650"/>
                  </a:moveTo>
                  <a:lnTo>
                    <a:pt x="103187" y="204788"/>
                  </a:lnTo>
                  <a:lnTo>
                    <a:pt x="77787" y="241300"/>
                  </a:lnTo>
                  <a:lnTo>
                    <a:pt x="163512" y="241300"/>
                  </a:lnTo>
                  <a:lnTo>
                    <a:pt x="138112" y="204788"/>
                  </a:lnTo>
                  <a:lnTo>
                    <a:pt x="138112" y="120650"/>
                  </a:lnTo>
                  <a:close/>
                  <a:moveTo>
                    <a:pt x="66675" y="96837"/>
                  </a:moveTo>
                  <a:lnTo>
                    <a:pt x="174625" y="96837"/>
                  </a:lnTo>
                  <a:lnTo>
                    <a:pt x="174625" y="120650"/>
                  </a:lnTo>
                  <a:lnTo>
                    <a:pt x="163513" y="120650"/>
                  </a:lnTo>
                  <a:lnTo>
                    <a:pt x="163513" y="198437"/>
                  </a:lnTo>
                  <a:lnTo>
                    <a:pt x="241300" y="325437"/>
                  </a:lnTo>
                  <a:lnTo>
                    <a:pt x="0" y="325437"/>
                  </a:lnTo>
                  <a:lnTo>
                    <a:pt x="77788" y="198437"/>
                  </a:lnTo>
                  <a:lnTo>
                    <a:pt x="77788" y="120650"/>
                  </a:lnTo>
                  <a:lnTo>
                    <a:pt x="66675" y="120650"/>
                  </a:lnTo>
                  <a:close/>
                  <a:moveTo>
                    <a:pt x="70644" y="38100"/>
                  </a:moveTo>
                  <a:cubicBezTo>
                    <a:pt x="78974" y="38100"/>
                    <a:pt x="85726" y="44852"/>
                    <a:pt x="85726" y="53182"/>
                  </a:cubicBezTo>
                  <a:cubicBezTo>
                    <a:pt x="85726" y="61512"/>
                    <a:pt x="78974" y="68264"/>
                    <a:pt x="70644" y="68264"/>
                  </a:cubicBezTo>
                  <a:cubicBezTo>
                    <a:pt x="62314" y="68264"/>
                    <a:pt x="55562" y="61512"/>
                    <a:pt x="55562" y="53182"/>
                  </a:cubicBezTo>
                  <a:cubicBezTo>
                    <a:pt x="55562" y="44852"/>
                    <a:pt x="62314" y="38100"/>
                    <a:pt x="70644" y="38100"/>
                  </a:cubicBezTo>
                  <a:close/>
                  <a:moveTo>
                    <a:pt x="146051" y="0"/>
                  </a:moveTo>
                  <a:cubicBezTo>
                    <a:pt x="159203" y="0"/>
                    <a:pt x="169864" y="10661"/>
                    <a:pt x="169864" y="23813"/>
                  </a:cubicBezTo>
                  <a:cubicBezTo>
                    <a:pt x="169864" y="36965"/>
                    <a:pt x="159203" y="47626"/>
                    <a:pt x="146051" y="47626"/>
                  </a:cubicBezTo>
                  <a:cubicBezTo>
                    <a:pt x="132899" y="47626"/>
                    <a:pt x="122238" y="36965"/>
                    <a:pt x="122238" y="23813"/>
                  </a:cubicBezTo>
                  <a:cubicBezTo>
                    <a:pt x="122238" y="10661"/>
                    <a:pt x="132899" y="0"/>
                    <a:pt x="146051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9" name="组合 8"/>
            <p:cNvGrpSpPr/>
            <p:nvPr/>
          </p:nvGrpSpPr>
          <p:grpSpPr>
            <a:xfrm>
              <a:off x="6296" y="4565"/>
              <a:ext cx="2719" cy="1728"/>
              <a:chOff x="6723970" y="2930779"/>
              <a:chExt cx="2241974" cy="1096881"/>
            </a:xfrm>
          </p:grpSpPr>
          <p:sp>
            <p:nvSpPr>
              <p:cNvPr id="15" name="矩形 14"/>
              <p:cNvSpPr/>
              <p:nvPr/>
            </p:nvSpPr>
            <p:spPr>
              <a:xfrm>
                <a:off x="6871280" y="3285516"/>
                <a:ext cx="1947353" cy="742144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+mn-ea"/>
                    <a:sym typeface="+mn-lt"/>
                  </a:rPr>
                  <a:t>Click here to add content, content to match the title. </a:t>
                </a:r>
                <a:endPara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6" name="矩形 15"/>
              <p:cNvSpPr/>
              <p:nvPr/>
            </p:nvSpPr>
            <p:spPr>
              <a:xfrm>
                <a:off x="6723970" y="2930779"/>
                <a:ext cx="2241974" cy="298640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1200" b="1" dirty="0">
                    <a:solidFill>
                      <a:srgbClr val="9D6BAB"/>
                    </a:solidFill>
                    <a:cs typeface="+mn-ea"/>
                    <a:sym typeface="+mn-lt"/>
                  </a:rPr>
                  <a:t>Add title text</a:t>
                </a:r>
                <a:endParaRPr lang="zh-CN" altLang="en-US" sz="1200" b="1" dirty="0">
                  <a:solidFill>
                    <a:srgbClr val="9D6BAB"/>
                  </a:solidFill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23" name="组合 22"/>
          <p:cNvGrpSpPr/>
          <p:nvPr/>
        </p:nvGrpSpPr>
        <p:grpSpPr>
          <a:xfrm>
            <a:off x="5782945" y="1517015"/>
            <a:ext cx="1726565" cy="2479040"/>
            <a:chOff x="9107" y="2389"/>
            <a:chExt cx="2719" cy="3904"/>
          </a:xfrm>
        </p:grpSpPr>
        <p:sp>
          <p:nvSpPr>
            <p:cNvPr id="13" name="椭圆 12"/>
            <p:cNvSpPr/>
            <p:nvPr/>
          </p:nvSpPr>
          <p:spPr>
            <a:xfrm>
              <a:off x="9531" y="2389"/>
              <a:ext cx="1871" cy="1871"/>
            </a:xfrm>
            <a:prstGeom prst="ellipse">
              <a:avLst/>
            </a:prstGeom>
            <a:solidFill>
              <a:srgbClr val="C8ACE8">
                <a:alpha val="85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1" name="椭圆 26"/>
            <p:cNvSpPr/>
            <p:nvPr/>
          </p:nvSpPr>
          <p:spPr>
            <a:xfrm>
              <a:off x="9925" y="2865"/>
              <a:ext cx="1083" cy="860"/>
            </a:xfrm>
            <a:custGeom>
              <a:avLst/>
              <a:gdLst>
                <a:gd name="connsiteX0" fmla="*/ 112713 w 338138"/>
                <a:gd name="connsiteY0" fmla="*/ 239713 h 268288"/>
                <a:gd name="connsiteX1" fmla="*/ 103188 w 338138"/>
                <a:gd name="connsiteY1" fmla="*/ 248445 h 268288"/>
                <a:gd name="connsiteX2" fmla="*/ 112713 w 338138"/>
                <a:gd name="connsiteY2" fmla="*/ 257177 h 268288"/>
                <a:gd name="connsiteX3" fmla="*/ 122238 w 338138"/>
                <a:gd name="connsiteY3" fmla="*/ 248445 h 268288"/>
                <a:gd name="connsiteX4" fmla="*/ 112713 w 338138"/>
                <a:gd name="connsiteY4" fmla="*/ 239713 h 268288"/>
                <a:gd name="connsiteX5" fmla="*/ 150813 w 338138"/>
                <a:gd name="connsiteY5" fmla="*/ 207963 h 268288"/>
                <a:gd name="connsiteX6" fmla="*/ 161272 w 338138"/>
                <a:gd name="connsiteY6" fmla="*/ 215901 h 268288"/>
                <a:gd name="connsiteX7" fmla="*/ 173038 w 338138"/>
                <a:gd name="connsiteY7" fmla="*/ 207963 h 268288"/>
                <a:gd name="connsiteX8" fmla="*/ 161272 w 338138"/>
                <a:gd name="connsiteY8" fmla="*/ 207963 h 268288"/>
                <a:gd name="connsiteX9" fmla="*/ 150813 w 338138"/>
                <a:gd name="connsiteY9" fmla="*/ 207963 h 268288"/>
                <a:gd name="connsiteX10" fmla="*/ 271501 w 338138"/>
                <a:gd name="connsiteY10" fmla="*/ 187325 h 268288"/>
                <a:gd name="connsiteX11" fmla="*/ 191197 w 338138"/>
                <a:gd name="connsiteY11" fmla="*/ 206131 h 268288"/>
                <a:gd name="connsiteX12" fmla="*/ 171450 w 338138"/>
                <a:gd name="connsiteY12" fmla="*/ 222250 h 268288"/>
                <a:gd name="connsiteX13" fmla="*/ 267552 w 338138"/>
                <a:gd name="connsiteY13" fmla="*/ 241056 h 268288"/>
                <a:gd name="connsiteX14" fmla="*/ 271501 w 338138"/>
                <a:gd name="connsiteY14" fmla="*/ 187325 h 268288"/>
                <a:gd name="connsiteX15" fmla="*/ 52349 w 338138"/>
                <a:gd name="connsiteY15" fmla="*/ 187325 h 268288"/>
                <a:gd name="connsiteX16" fmla="*/ 56298 w 338138"/>
                <a:gd name="connsiteY16" fmla="*/ 240017 h 268288"/>
                <a:gd name="connsiteX17" fmla="*/ 93159 w 338138"/>
                <a:gd name="connsiteY17" fmla="*/ 246603 h 268288"/>
                <a:gd name="connsiteX18" fmla="*/ 112906 w 338138"/>
                <a:gd name="connsiteY18" fmla="*/ 228161 h 268288"/>
                <a:gd name="connsiteX19" fmla="*/ 128704 w 338138"/>
                <a:gd name="connsiteY19" fmla="*/ 234748 h 268288"/>
                <a:gd name="connsiteX20" fmla="*/ 152400 w 338138"/>
                <a:gd name="connsiteY20" fmla="*/ 221575 h 268288"/>
                <a:gd name="connsiteX21" fmla="*/ 132653 w 338138"/>
                <a:gd name="connsiteY21" fmla="*/ 205767 h 268288"/>
                <a:gd name="connsiteX22" fmla="*/ 52349 w 338138"/>
                <a:gd name="connsiteY22" fmla="*/ 187325 h 268288"/>
                <a:gd name="connsiteX23" fmla="*/ 251163 w 338138"/>
                <a:gd name="connsiteY23" fmla="*/ 142875 h 268288"/>
                <a:gd name="connsiteX24" fmla="*/ 214279 w 338138"/>
                <a:gd name="connsiteY24" fmla="*/ 187203 h 268288"/>
                <a:gd name="connsiteX25" fmla="*/ 206375 w 338138"/>
                <a:gd name="connsiteY25" fmla="*/ 195263 h 268288"/>
                <a:gd name="connsiteX26" fmla="*/ 268288 w 338138"/>
                <a:gd name="connsiteY26" fmla="*/ 177800 h 268288"/>
                <a:gd name="connsiteX27" fmla="*/ 251163 w 338138"/>
                <a:gd name="connsiteY27" fmla="*/ 142875 h 268288"/>
                <a:gd name="connsiteX28" fmla="*/ 72688 w 338138"/>
                <a:gd name="connsiteY28" fmla="*/ 142875 h 268288"/>
                <a:gd name="connsiteX29" fmla="*/ 55563 w 338138"/>
                <a:gd name="connsiteY29" fmla="*/ 177800 h 268288"/>
                <a:gd name="connsiteX30" fmla="*/ 117476 w 338138"/>
                <a:gd name="connsiteY30" fmla="*/ 195263 h 268288"/>
                <a:gd name="connsiteX31" fmla="*/ 109572 w 338138"/>
                <a:gd name="connsiteY31" fmla="*/ 187203 h 268288"/>
                <a:gd name="connsiteX32" fmla="*/ 72688 w 338138"/>
                <a:gd name="connsiteY32" fmla="*/ 142875 h 268288"/>
                <a:gd name="connsiteX33" fmla="*/ 318295 w 338138"/>
                <a:gd name="connsiteY33" fmla="*/ 125413 h 268288"/>
                <a:gd name="connsiteX34" fmla="*/ 309563 w 338138"/>
                <a:gd name="connsiteY34" fmla="*/ 134145 h 268288"/>
                <a:gd name="connsiteX35" fmla="*/ 318295 w 338138"/>
                <a:gd name="connsiteY35" fmla="*/ 142877 h 268288"/>
                <a:gd name="connsiteX36" fmla="*/ 327027 w 338138"/>
                <a:gd name="connsiteY36" fmla="*/ 134145 h 268288"/>
                <a:gd name="connsiteX37" fmla="*/ 318295 w 338138"/>
                <a:gd name="connsiteY37" fmla="*/ 125413 h 268288"/>
                <a:gd name="connsiteX38" fmla="*/ 278456 w 338138"/>
                <a:gd name="connsiteY38" fmla="*/ 95250 h 268288"/>
                <a:gd name="connsiteX39" fmla="*/ 257175 w 338138"/>
                <a:gd name="connsiteY39" fmla="*/ 134144 h 268288"/>
                <a:gd name="connsiteX40" fmla="*/ 278456 w 338138"/>
                <a:gd name="connsiteY40" fmla="*/ 173038 h 268288"/>
                <a:gd name="connsiteX41" fmla="*/ 306388 w 338138"/>
                <a:gd name="connsiteY41" fmla="*/ 150998 h 268288"/>
                <a:gd name="connsiteX42" fmla="*/ 297077 w 338138"/>
                <a:gd name="connsiteY42" fmla="*/ 134144 h 268288"/>
                <a:gd name="connsiteX43" fmla="*/ 306388 w 338138"/>
                <a:gd name="connsiteY43" fmla="*/ 117290 h 268288"/>
                <a:gd name="connsiteX44" fmla="*/ 278456 w 338138"/>
                <a:gd name="connsiteY44" fmla="*/ 95250 h 268288"/>
                <a:gd name="connsiteX45" fmla="*/ 45509 w 338138"/>
                <a:gd name="connsiteY45" fmla="*/ 95250 h 268288"/>
                <a:gd name="connsiteX46" fmla="*/ 11113 w 338138"/>
                <a:gd name="connsiteY46" fmla="*/ 134144 h 268288"/>
                <a:gd name="connsiteX47" fmla="*/ 45509 w 338138"/>
                <a:gd name="connsiteY47" fmla="*/ 173038 h 268288"/>
                <a:gd name="connsiteX48" fmla="*/ 66676 w 338138"/>
                <a:gd name="connsiteY48" fmla="*/ 134144 h 268288"/>
                <a:gd name="connsiteX49" fmla="*/ 45509 w 338138"/>
                <a:gd name="connsiteY49" fmla="*/ 95250 h 268288"/>
                <a:gd name="connsiteX50" fmla="*/ 206375 w 338138"/>
                <a:gd name="connsiteY50" fmla="*/ 73025 h 268288"/>
                <a:gd name="connsiteX51" fmla="*/ 214279 w 338138"/>
                <a:gd name="connsiteY51" fmla="*/ 81046 h 268288"/>
                <a:gd name="connsiteX52" fmla="*/ 251163 w 338138"/>
                <a:gd name="connsiteY52" fmla="*/ 123825 h 268288"/>
                <a:gd name="connsiteX53" fmla="*/ 268288 w 338138"/>
                <a:gd name="connsiteY53" fmla="*/ 89067 h 268288"/>
                <a:gd name="connsiteX54" fmla="*/ 206375 w 338138"/>
                <a:gd name="connsiteY54" fmla="*/ 73025 h 268288"/>
                <a:gd name="connsiteX55" fmla="*/ 117476 w 338138"/>
                <a:gd name="connsiteY55" fmla="*/ 73025 h 268288"/>
                <a:gd name="connsiteX56" fmla="*/ 55563 w 338138"/>
                <a:gd name="connsiteY56" fmla="*/ 89067 h 268288"/>
                <a:gd name="connsiteX57" fmla="*/ 72688 w 338138"/>
                <a:gd name="connsiteY57" fmla="*/ 123825 h 268288"/>
                <a:gd name="connsiteX58" fmla="*/ 109572 w 338138"/>
                <a:gd name="connsiteY58" fmla="*/ 81046 h 268288"/>
                <a:gd name="connsiteX59" fmla="*/ 117476 w 338138"/>
                <a:gd name="connsiteY59" fmla="*/ 73025 h 268288"/>
                <a:gd name="connsiteX60" fmla="*/ 136169 w 338138"/>
                <a:gd name="connsiteY60" fmla="*/ 72744 h 268288"/>
                <a:gd name="connsiteX61" fmla="*/ 117678 w 338138"/>
                <a:gd name="connsiteY61" fmla="*/ 89727 h 268288"/>
                <a:gd name="connsiteX62" fmla="*/ 79375 w 338138"/>
                <a:gd name="connsiteY62" fmla="*/ 134145 h 268288"/>
                <a:gd name="connsiteX63" fmla="*/ 117678 w 338138"/>
                <a:gd name="connsiteY63" fmla="*/ 178562 h 268288"/>
                <a:gd name="connsiteX64" fmla="*/ 136169 w 338138"/>
                <a:gd name="connsiteY64" fmla="*/ 195545 h 268288"/>
                <a:gd name="connsiteX65" fmla="*/ 187680 w 338138"/>
                <a:gd name="connsiteY65" fmla="*/ 195545 h 268288"/>
                <a:gd name="connsiteX66" fmla="*/ 206172 w 338138"/>
                <a:gd name="connsiteY66" fmla="*/ 178562 h 268288"/>
                <a:gd name="connsiteX67" fmla="*/ 244475 w 338138"/>
                <a:gd name="connsiteY67" fmla="*/ 134145 h 268288"/>
                <a:gd name="connsiteX68" fmla="*/ 206172 w 338138"/>
                <a:gd name="connsiteY68" fmla="*/ 89727 h 268288"/>
                <a:gd name="connsiteX69" fmla="*/ 187680 w 338138"/>
                <a:gd name="connsiteY69" fmla="*/ 72744 h 268288"/>
                <a:gd name="connsiteX70" fmla="*/ 136169 w 338138"/>
                <a:gd name="connsiteY70" fmla="*/ 72744 h 268288"/>
                <a:gd name="connsiteX71" fmla="*/ 162579 w 338138"/>
                <a:gd name="connsiteY71" fmla="*/ 50800 h 268288"/>
                <a:gd name="connsiteX72" fmla="*/ 150813 w 338138"/>
                <a:gd name="connsiteY72" fmla="*/ 60325 h 268288"/>
                <a:gd name="connsiteX73" fmla="*/ 173038 w 338138"/>
                <a:gd name="connsiteY73" fmla="*/ 60325 h 268288"/>
                <a:gd name="connsiteX74" fmla="*/ 162579 w 338138"/>
                <a:gd name="connsiteY74" fmla="*/ 50800 h 268288"/>
                <a:gd name="connsiteX75" fmla="*/ 251795 w 338138"/>
                <a:gd name="connsiteY75" fmla="*/ 19215 h 268288"/>
                <a:gd name="connsiteX76" fmla="*/ 171450 w 338138"/>
                <a:gd name="connsiteY76" fmla="*/ 45244 h 268288"/>
                <a:gd name="connsiteX77" fmla="*/ 191197 w 338138"/>
                <a:gd name="connsiteY77" fmla="*/ 60997 h 268288"/>
                <a:gd name="connsiteX78" fmla="*/ 271501 w 338138"/>
                <a:gd name="connsiteY78" fmla="*/ 79376 h 268288"/>
                <a:gd name="connsiteX79" fmla="*/ 267552 w 338138"/>
                <a:gd name="connsiteY79" fmla="*/ 26866 h 268288"/>
                <a:gd name="connsiteX80" fmla="*/ 251795 w 338138"/>
                <a:gd name="connsiteY80" fmla="*/ 19215 h 268288"/>
                <a:gd name="connsiteX81" fmla="*/ 73248 w 338138"/>
                <a:gd name="connsiteY81" fmla="*/ 18780 h 268288"/>
                <a:gd name="connsiteX82" fmla="*/ 56298 w 338138"/>
                <a:gd name="connsiteY82" fmla="*/ 26684 h 268288"/>
                <a:gd name="connsiteX83" fmla="*/ 52349 w 338138"/>
                <a:gd name="connsiteY83" fmla="*/ 79376 h 268288"/>
                <a:gd name="connsiteX84" fmla="*/ 132653 w 338138"/>
                <a:gd name="connsiteY84" fmla="*/ 60934 h 268288"/>
                <a:gd name="connsiteX85" fmla="*/ 152400 w 338138"/>
                <a:gd name="connsiteY85" fmla="*/ 45126 h 268288"/>
                <a:gd name="connsiteX86" fmla="*/ 128704 w 338138"/>
                <a:gd name="connsiteY86" fmla="*/ 31953 h 268288"/>
                <a:gd name="connsiteX87" fmla="*/ 112906 w 338138"/>
                <a:gd name="connsiteY87" fmla="*/ 38540 h 268288"/>
                <a:gd name="connsiteX88" fmla="*/ 93159 w 338138"/>
                <a:gd name="connsiteY88" fmla="*/ 18780 h 268288"/>
                <a:gd name="connsiteX89" fmla="*/ 73248 w 338138"/>
                <a:gd name="connsiteY89" fmla="*/ 18780 h 268288"/>
                <a:gd name="connsiteX90" fmla="*/ 112713 w 338138"/>
                <a:gd name="connsiteY90" fmla="*/ 9525 h 268288"/>
                <a:gd name="connsiteX91" fmla="*/ 103188 w 338138"/>
                <a:gd name="connsiteY91" fmla="*/ 19050 h 268288"/>
                <a:gd name="connsiteX92" fmla="*/ 112713 w 338138"/>
                <a:gd name="connsiteY92" fmla="*/ 28575 h 268288"/>
                <a:gd name="connsiteX93" fmla="*/ 122238 w 338138"/>
                <a:gd name="connsiteY93" fmla="*/ 19050 h 268288"/>
                <a:gd name="connsiteX94" fmla="*/ 112713 w 338138"/>
                <a:gd name="connsiteY94" fmla="*/ 9525 h 268288"/>
                <a:gd name="connsiteX95" fmla="*/ 112272 w 338138"/>
                <a:gd name="connsiteY95" fmla="*/ 0 h 268288"/>
                <a:gd name="connsiteX96" fmla="*/ 132085 w 338138"/>
                <a:gd name="connsiteY96" fmla="*/ 19727 h 268288"/>
                <a:gd name="connsiteX97" fmla="*/ 132085 w 338138"/>
                <a:gd name="connsiteY97" fmla="*/ 22357 h 268288"/>
                <a:gd name="connsiteX98" fmla="*/ 162465 w 338138"/>
                <a:gd name="connsiteY98" fmla="*/ 38139 h 268288"/>
                <a:gd name="connsiteX99" fmla="*/ 225865 w 338138"/>
                <a:gd name="connsiteY99" fmla="*/ 10521 h 268288"/>
                <a:gd name="connsiteX100" fmla="*/ 276058 w 338138"/>
                <a:gd name="connsiteY100" fmla="*/ 19727 h 268288"/>
                <a:gd name="connsiteX101" fmla="*/ 282662 w 338138"/>
                <a:gd name="connsiteY101" fmla="*/ 84169 h 268288"/>
                <a:gd name="connsiteX102" fmla="*/ 318325 w 338138"/>
                <a:gd name="connsiteY102" fmla="*/ 114417 h 268288"/>
                <a:gd name="connsiteX103" fmla="*/ 338138 w 338138"/>
                <a:gd name="connsiteY103" fmla="*/ 134144 h 268288"/>
                <a:gd name="connsiteX104" fmla="*/ 318325 w 338138"/>
                <a:gd name="connsiteY104" fmla="*/ 153871 h 268288"/>
                <a:gd name="connsiteX105" fmla="*/ 282662 w 338138"/>
                <a:gd name="connsiteY105" fmla="*/ 184119 h 268288"/>
                <a:gd name="connsiteX106" fmla="*/ 276058 w 338138"/>
                <a:gd name="connsiteY106" fmla="*/ 248561 h 268288"/>
                <a:gd name="connsiteX107" fmla="*/ 243037 w 338138"/>
                <a:gd name="connsiteY107" fmla="*/ 260397 h 268288"/>
                <a:gd name="connsiteX108" fmla="*/ 225865 w 338138"/>
                <a:gd name="connsiteY108" fmla="*/ 257767 h 268288"/>
                <a:gd name="connsiteX109" fmla="*/ 161144 w 338138"/>
                <a:gd name="connsiteY109" fmla="*/ 230149 h 268288"/>
                <a:gd name="connsiteX110" fmla="*/ 133406 w 338138"/>
                <a:gd name="connsiteY110" fmla="*/ 245931 h 268288"/>
                <a:gd name="connsiteX111" fmla="*/ 133406 w 338138"/>
                <a:gd name="connsiteY111" fmla="*/ 248561 h 268288"/>
                <a:gd name="connsiteX112" fmla="*/ 112272 w 338138"/>
                <a:gd name="connsiteY112" fmla="*/ 268288 h 268288"/>
                <a:gd name="connsiteX113" fmla="*/ 95101 w 338138"/>
                <a:gd name="connsiteY113" fmla="*/ 259082 h 268288"/>
                <a:gd name="connsiteX114" fmla="*/ 80572 w 338138"/>
                <a:gd name="connsiteY114" fmla="*/ 260397 h 268288"/>
                <a:gd name="connsiteX115" fmla="*/ 47551 w 338138"/>
                <a:gd name="connsiteY115" fmla="*/ 248561 h 268288"/>
                <a:gd name="connsiteX116" fmla="*/ 40946 w 338138"/>
                <a:gd name="connsiteY116" fmla="*/ 184119 h 268288"/>
                <a:gd name="connsiteX117" fmla="*/ 0 w 338138"/>
                <a:gd name="connsiteY117" fmla="*/ 134144 h 268288"/>
                <a:gd name="connsiteX118" fmla="*/ 40946 w 338138"/>
                <a:gd name="connsiteY118" fmla="*/ 84169 h 268288"/>
                <a:gd name="connsiteX119" fmla="*/ 47551 w 338138"/>
                <a:gd name="connsiteY119" fmla="*/ 19727 h 268288"/>
                <a:gd name="connsiteX120" fmla="*/ 95101 w 338138"/>
                <a:gd name="connsiteY120" fmla="*/ 9206 h 268288"/>
                <a:gd name="connsiteX121" fmla="*/ 112272 w 338138"/>
                <a:gd name="connsiteY121" fmla="*/ 0 h 268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338138" h="268288">
                  <a:moveTo>
                    <a:pt x="112713" y="239713"/>
                  </a:moveTo>
                  <a:cubicBezTo>
                    <a:pt x="107452" y="239713"/>
                    <a:pt x="103188" y="243622"/>
                    <a:pt x="103188" y="248445"/>
                  </a:cubicBezTo>
                  <a:cubicBezTo>
                    <a:pt x="103188" y="253268"/>
                    <a:pt x="107452" y="257177"/>
                    <a:pt x="112713" y="257177"/>
                  </a:cubicBezTo>
                  <a:cubicBezTo>
                    <a:pt x="117974" y="257177"/>
                    <a:pt x="122238" y="253268"/>
                    <a:pt x="122238" y="248445"/>
                  </a:cubicBezTo>
                  <a:cubicBezTo>
                    <a:pt x="122238" y="243622"/>
                    <a:pt x="117974" y="239713"/>
                    <a:pt x="112713" y="239713"/>
                  </a:cubicBezTo>
                  <a:close/>
                  <a:moveTo>
                    <a:pt x="150813" y="207963"/>
                  </a:moveTo>
                  <a:cubicBezTo>
                    <a:pt x="154735" y="210609"/>
                    <a:pt x="158657" y="213255"/>
                    <a:pt x="161272" y="215901"/>
                  </a:cubicBezTo>
                  <a:cubicBezTo>
                    <a:pt x="165194" y="213255"/>
                    <a:pt x="169116" y="210609"/>
                    <a:pt x="173038" y="207963"/>
                  </a:cubicBezTo>
                  <a:cubicBezTo>
                    <a:pt x="169116" y="207963"/>
                    <a:pt x="165194" y="207963"/>
                    <a:pt x="161272" y="207963"/>
                  </a:cubicBezTo>
                  <a:cubicBezTo>
                    <a:pt x="158657" y="207963"/>
                    <a:pt x="154735" y="207963"/>
                    <a:pt x="150813" y="207963"/>
                  </a:cubicBezTo>
                  <a:close/>
                  <a:moveTo>
                    <a:pt x="271501" y="187325"/>
                  </a:moveTo>
                  <a:cubicBezTo>
                    <a:pt x="249121" y="198071"/>
                    <a:pt x="221475" y="203444"/>
                    <a:pt x="191197" y="206131"/>
                  </a:cubicBezTo>
                  <a:cubicBezTo>
                    <a:pt x="184615" y="212847"/>
                    <a:pt x="178032" y="218220"/>
                    <a:pt x="171450" y="222250"/>
                  </a:cubicBezTo>
                  <a:cubicBezTo>
                    <a:pt x="213577" y="250459"/>
                    <a:pt x="251754" y="257175"/>
                    <a:pt x="267552" y="241056"/>
                  </a:cubicBezTo>
                  <a:cubicBezTo>
                    <a:pt x="278083" y="230310"/>
                    <a:pt x="279400" y="211504"/>
                    <a:pt x="271501" y="187325"/>
                  </a:cubicBezTo>
                  <a:close/>
                  <a:moveTo>
                    <a:pt x="52349" y="187325"/>
                  </a:moveTo>
                  <a:cubicBezTo>
                    <a:pt x="44450" y="211036"/>
                    <a:pt x="45766" y="229479"/>
                    <a:pt x="56298" y="240017"/>
                  </a:cubicBezTo>
                  <a:cubicBezTo>
                    <a:pt x="65513" y="249238"/>
                    <a:pt x="81311" y="249238"/>
                    <a:pt x="93159" y="246603"/>
                  </a:cubicBezTo>
                  <a:cubicBezTo>
                    <a:pt x="93159" y="236065"/>
                    <a:pt x="102374" y="228161"/>
                    <a:pt x="112906" y="228161"/>
                  </a:cubicBezTo>
                  <a:cubicBezTo>
                    <a:pt x="119488" y="228161"/>
                    <a:pt x="124754" y="230796"/>
                    <a:pt x="128704" y="234748"/>
                  </a:cubicBezTo>
                  <a:cubicBezTo>
                    <a:pt x="136602" y="232113"/>
                    <a:pt x="144501" y="226844"/>
                    <a:pt x="152400" y="221575"/>
                  </a:cubicBezTo>
                  <a:cubicBezTo>
                    <a:pt x="145818" y="217623"/>
                    <a:pt x="139235" y="212354"/>
                    <a:pt x="132653" y="205767"/>
                  </a:cubicBezTo>
                  <a:cubicBezTo>
                    <a:pt x="102374" y="203133"/>
                    <a:pt x="74729" y="197863"/>
                    <a:pt x="52349" y="187325"/>
                  </a:cubicBezTo>
                  <a:close/>
                  <a:moveTo>
                    <a:pt x="251163" y="142875"/>
                  </a:moveTo>
                  <a:cubicBezTo>
                    <a:pt x="240625" y="158994"/>
                    <a:pt x="228769" y="173771"/>
                    <a:pt x="214279" y="187203"/>
                  </a:cubicBezTo>
                  <a:cubicBezTo>
                    <a:pt x="211644" y="189890"/>
                    <a:pt x="209009" y="192576"/>
                    <a:pt x="206375" y="195263"/>
                  </a:cubicBezTo>
                  <a:cubicBezTo>
                    <a:pt x="230086" y="191233"/>
                    <a:pt x="251163" y="185860"/>
                    <a:pt x="268288" y="177800"/>
                  </a:cubicBezTo>
                  <a:cubicBezTo>
                    <a:pt x="264336" y="167054"/>
                    <a:pt x="259067" y="154965"/>
                    <a:pt x="251163" y="142875"/>
                  </a:cubicBezTo>
                  <a:close/>
                  <a:moveTo>
                    <a:pt x="72688" y="142875"/>
                  </a:moveTo>
                  <a:cubicBezTo>
                    <a:pt x="64784" y="154965"/>
                    <a:pt x="59515" y="167054"/>
                    <a:pt x="55563" y="177800"/>
                  </a:cubicBezTo>
                  <a:cubicBezTo>
                    <a:pt x="72688" y="185860"/>
                    <a:pt x="93765" y="191233"/>
                    <a:pt x="117476" y="195263"/>
                  </a:cubicBezTo>
                  <a:cubicBezTo>
                    <a:pt x="114841" y="192576"/>
                    <a:pt x="112207" y="189890"/>
                    <a:pt x="109572" y="187203"/>
                  </a:cubicBezTo>
                  <a:cubicBezTo>
                    <a:pt x="95082" y="172427"/>
                    <a:pt x="83226" y="158994"/>
                    <a:pt x="72688" y="142875"/>
                  </a:cubicBezTo>
                  <a:close/>
                  <a:moveTo>
                    <a:pt x="318295" y="125413"/>
                  </a:moveTo>
                  <a:cubicBezTo>
                    <a:pt x="313472" y="125413"/>
                    <a:pt x="309563" y="129322"/>
                    <a:pt x="309563" y="134145"/>
                  </a:cubicBezTo>
                  <a:cubicBezTo>
                    <a:pt x="309563" y="138968"/>
                    <a:pt x="313472" y="142877"/>
                    <a:pt x="318295" y="142877"/>
                  </a:cubicBezTo>
                  <a:cubicBezTo>
                    <a:pt x="323118" y="142877"/>
                    <a:pt x="327027" y="138968"/>
                    <a:pt x="327027" y="134145"/>
                  </a:cubicBezTo>
                  <a:cubicBezTo>
                    <a:pt x="327027" y="129322"/>
                    <a:pt x="323118" y="125413"/>
                    <a:pt x="318295" y="125413"/>
                  </a:cubicBezTo>
                  <a:close/>
                  <a:moveTo>
                    <a:pt x="278456" y="95250"/>
                  </a:moveTo>
                  <a:cubicBezTo>
                    <a:pt x="273136" y="108215"/>
                    <a:pt x="266485" y="121179"/>
                    <a:pt x="257175" y="134144"/>
                  </a:cubicBezTo>
                  <a:cubicBezTo>
                    <a:pt x="266485" y="147109"/>
                    <a:pt x="273136" y="160073"/>
                    <a:pt x="278456" y="173038"/>
                  </a:cubicBezTo>
                  <a:cubicBezTo>
                    <a:pt x="291757" y="166556"/>
                    <a:pt x="301068" y="158777"/>
                    <a:pt x="306388" y="150998"/>
                  </a:cubicBezTo>
                  <a:cubicBezTo>
                    <a:pt x="301068" y="147109"/>
                    <a:pt x="297077" y="140626"/>
                    <a:pt x="297077" y="134144"/>
                  </a:cubicBezTo>
                  <a:cubicBezTo>
                    <a:pt x="297077" y="127662"/>
                    <a:pt x="301068" y="121179"/>
                    <a:pt x="306388" y="117290"/>
                  </a:cubicBezTo>
                  <a:cubicBezTo>
                    <a:pt x="301068" y="109511"/>
                    <a:pt x="291757" y="101732"/>
                    <a:pt x="278456" y="95250"/>
                  </a:cubicBezTo>
                  <a:close/>
                  <a:moveTo>
                    <a:pt x="45509" y="95250"/>
                  </a:moveTo>
                  <a:cubicBezTo>
                    <a:pt x="23019" y="106918"/>
                    <a:pt x="11113" y="119883"/>
                    <a:pt x="11113" y="134144"/>
                  </a:cubicBezTo>
                  <a:cubicBezTo>
                    <a:pt x="11113" y="148405"/>
                    <a:pt x="23019" y="161370"/>
                    <a:pt x="45509" y="173038"/>
                  </a:cubicBezTo>
                  <a:cubicBezTo>
                    <a:pt x="50801" y="160073"/>
                    <a:pt x="57415" y="147109"/>
                    <a:pt x="66676" y="134144"/>
                  </a:cubicBezTo>
                  <a:cubicBezTo>
                    <a:pt x="57415" y="121179"/>
                    <a:pt x="50801" y="108215"/>
                    <a:pt x="45509" y="95250"/>
                  </a:cubicBezTo>
                  <a:close/>
                  <a:moveTo>
                    <a:pt x="206375" y="73025"/>
                  </a:moveTo>
                  <a:cubicBezTo>
                    <a:pt x="209009" y="75699"/>
                    <a:pt x="211644" y="78372"/>
                    <a:pt x="214279" y="81046"/>
                  </a:cubicBezTo>
                  <a:cubicBezTo>
                    <a:pt x="228769" y="94414"/>
                    <a:pt x="240625" y="109120"/>
                    <a:pt x="251163" y="123825"/>
                  </a:cubicBezTo>
                  <a:cubicBezTo>
                    <a:pt x="259067" y="113130"/>
                    <a:pt x="264336" y="101099"/>
                    <a:pt x="268288" y="89067"/>
                  </a:cubicBezTo>
                  <a:cubicBezTo>
                    <a:pt x="251163" y="82383"/>
                    <a:pt x="230086" y="77035"/>
                    <a:pt x="206375" y="73025"/>
                  </a:cubicBezTo>
                  <a:close/>
                  <a:moveTo>
                    <a:pt x="117476" y="73025"/>
                  </a:moveTo>
                  <a:cubicBezTo>
                    <a:pt x="93765" y="77035"/>
                    <a:pt x="72688" y="82383"/>
                    <a:pt x="55563" y="89067"/>
                  </a:cubicBezTo>
                  <a:cubicBezTo>
                    <a:pt x="59515" y="101099"/>
                    <a:pt x="64784" y="113130"/>
                    <a:pt x="72688" y="123825"/>
                  </a:cubicBezTo>
                  <a:cubicBezTo>
                    <a:pt x="83226" y="109120"/>
                    <a:pt x="95082" y="94414"/>
                    <a:pt x="109572" y="81046"/>
                  </a:cubicBezTo>
                  <a:cubicBezTo>
                    <a:pt x="112207" y="78372"/>
                    <a:pt x="114841" y="75699"/>
                    <a:pt x="117476" y="73025"/>
                  </a:cubicBezTo>
                  <a:close/>
                  <a:moveTo>
                    <a:pt x="136169" y="72744"/>
                  </a:moveTo>
                  <a:cubicBezTo>
                    <a:pt x="129565" y="77970"/>
                    <a:pt x="122961" y="83195"/>
                    <a:pt x="117678" y="89727"/>
                  </a:cubicBezTo>
                  <a:cubicBezTo>
                    <a:pt x="103149" y="104098"/>
                    <a:pt x="89941" y="118468"/>
                    <a:pt x="79375" y="134145"/>
                  </a:cubicBezTo>
                  <a:cubicBezTo>
                    <a:pt x="89941" y="149821"/>
                    <a:pt x="103149" y="164191"/>
                    <a:pt x="117678" y="178562"/>
                  </a:cubicBezTo>
                  <a:cubicBezTo>
                    <a:pt x="122961" y="185094"/>
                    <a:pt x="129565" y="190319"/>
                    <a:pt x="136169" y="195545"/>
                  </a:cubicBezTo>
                  <a:cubicBezTo>
                    <a:pt x="153340" y="196851"/>
                    <a:pt x="170510" y="196851"/>
                    <a:pt x="187680" y="195545"/>
                  </a:cubicBezTo>
                  <a:cubicBezTo>
                    <a:pt x="194284" y="190319"/>
                    <a:pt x="200888" y="185094"/>
                    <a:pt x="206172" y="178562"/>
                  </a:cubicBezTo>
                  <a:cubicBezTo>
                    <a:pt x="220700" y="164191"/>
                    <a:pt x="233908" y="149821"/>
                    <a:pt x="244475" y="134145"/>
                  </a:cubicBezTo>
                  <a:cubicBezTo>
                    <a:pt x="233908" y="118468"/>
                    <a:pt x="220700" y="104098"/>
                    <a:pt x="206172" y="89727"/>
                  </a:cubicBezTo>
                  <a:cubicBezTo>
                    <a:pt x="200888" y="83195"/>
                    <a:pt x="194284" y="77970"/>
                    <a:pt x="187680" y="72744"/>
                  </a:cubicBezTo>
                  <a:cubicBezTo>
                    <a:pt x="170510" y="71438"/>
                    <a:pt x="153340" y="71438"/>
                    <a:pt x="136169" y="72744"/>
                  </a:cubicBezTo>
                  <a:close/>
                  <a:moveTo>
                    <a:pt x="162579" y="50800"/>
                  </a:moveTo>
                  <a:cubicBezTo>
                    <a:pt x="158657" y="53521"/>
                    <a:pt x="154735" y="57604"/>
                    <a:pt x="150813" y="60325"/>
                  </a:cubicBezTo>
                  <a:cubicBezTo>
                    <a:pt x="158657" y="60325"/>
                    <a:pt x="165194" y="60325"/>
                    <a:pt x="173038" y="60325"/>
                  </a:cubicBezTo>
                  <a:cubicBezTo>
                    <a:pt x="169116" y="57604"/>
                    <a:pt x="165194" y="53521"/>
                    <a:pt x="162579" y="50800"/>
                  </a:cubicBezTo>
                  <a:close/>
                  <a:moveTo>
                    <a:pt x="251795" y="19215"/>
                  </a:moveTo>
                  <a:cubicBezTo>
                    <a:pt x="232419" y="15708"/>
                    <a:pt x="203045" y="24569"/>
                    <a:pt x="171450" y="45244"/>
                  </a:cubicBezTo>
                  <a:cubicBezTo>
                    <a:pt x="178032" y="49183"/>
                    <a:pt x="184615" y="54434"/>
                    <a:pt x="191197" y="60997"/>
                  </a:cubicBezTo>
                  <a:cubicBezTo>
                    <a:pt x="221475" y="63623"/>
                    <a:pt x="249121" y="68874"/>
                    <a:pt x="271501" y="79376"/>
                  </a:cubicBezTo>
                  <a:cubicBezTo>
                    <a:pt x="279400" y="55746"/>
                    <a:pt x="278083" y="37368"/>
                    <a:pt x="267552" y="26866"/>
                  </a:cubicBezTo>
                  <a:cubicBezTo>
                    <a:pt x="263602" y="22928"/>
                    <a:pt x="258254" y="20384"/>
                    <a:pt x="251795" y="19215"/>
                  </a:cubicBezTo>
                  <a:close/>
                  <a:moveTo>
                    <a:pt x="73248" y="18780"/>
                  </a:moveTo>
                  <a:cubicBezTo>
                    <a:pt x="66830" y="19768"/>
                    <a:pt x="60906" y="22074"/>
                    <a:pt x="56298" y="26684"/>
                  </a:cubicBezTo>
                  <a:cubicBezTo>
                    <a:pt x="45766" y="37222"/>
                    <a:pt x="44450" y="55665"/>
                    <a:pt x="52349" y="79376"/>
                  </a:cubicBezTo>
                  <a:cubicBezTo>
                    <a:pt x="74729" y="68838"/>
                    <a:pt x="102374" y="62251"/>
                    <a:pt x="132653" y="60934"/>
                  </a:cubicBezTo>
                  <a:cubicBezTo>
                    <a:pt x="139235" y="54347"/>
                    <a:pt x="145818" y="49078"/>
                    <a:pt x="152400" y="45126"/>
                  </a:cubicBezTo>
                  <a:cubicBezTo>
                    <a:pt x="144501" y="39857"/>
                    <a:pt x="136602" y="34588"/>
                    <a:pt x="128704" y="31953"/>
                  </a:cubicBezTo>
                  <a:cubicBezTo>
                    <a:pt x="124754" y="35905"/>
                    <a:pt x="119488" y="38540"/>
                    <a:pt x="112906" y="38540"/>
                  </a:cubicBezTo>
                  <a:cubicBezTo>
                    <a:pt x="102374" y="38540"/>
                    <a:pt x="93159" y="30636"/>
                    <a:pt x="93159" y="18780"/>
                  </a:cubicBezTo>
                  <a:cubicBezTo>
                    <a:pt x="86577" y="18122"/>
                    <a:pt x="79665" y="17792"/>
                    <a:pt x="73248" y="18780"/>
                  </a:cubicBezTo>
                  <a:close/>
                  <a:moveTo>
                    <a:pt x="112713" y="9525"/>
                  </a:moveTo>
                  <a:cubicBezTo>
                    <a:pt x="107452" y="9525"/>
                    <a:pt x="103188" y="13789"/>
                    <a:pt x="103188" y="19050"/>
                  </a:cubicBezTo>
                  <a:cubicBezTo>
                    <a:pt x="103188" y="24311"/>
                    <a:pt x="107452" y="28575"/>
                    <a:pt x="112713" y="28575"/>
                  </a:cubicBezTo>
                  <a:cubicBezTo>
                    <a:pt x="117974" y="28575"/>
                    <a:pt x="122238" y="24311"/>
                    <a:pt x="122238" y="19050"/>
                  </a:cubicBezTo>
                  <a:cubicBezTo>
                    <a:pt x="122238" y="13789"/>
                    <a:pt x="117974" y="9525"/>
                    <a:pt x="112713" y="9525"/>
                  </a:cubicBezTo>
                  <a:close/>
                  <a:moveTo>
                    <a:pt x="112272" y="0"/>
                  </a:moveTo>
                  <a:cubicBezTo>
                    <a:pt x="122839" y="0"/>
                    <a:pt x="132085" y="9206"/>
                    <a:pt x="132085" y="19727"/>
                  </a:cubicBezTo>
                  <a:cubicBezTo>
                    <a:pt x="132085" y="21042"/>
                    <a:pt x="132085" y="21042"/>
                    <a:pt x="132085" y="22357"/>
                  </a:cubicBezTo>
                  <a:cubicBezTo>
                    <a:pt x="141331" y="26303"/>
                    <a:pt x="151898" y="31563"/>
                    <a:pt x="162465" y="38139"/>
                  </a:cubicBezTo>
                  <a:cubicBezTo>
                    <a:pt x="184919" y="23672"/>
                    <a:pt x="206053" y="14466"/>
                    <a:pt x="225865" y="10521"/>
                  </a:cubicBezTo>
                  <a:cubicBezTo>
                    <a:pt x="248320" y="5261"/>
                    <a:pt x="265491" y="9206"/>
                    <a:pt x="276058" y="19727"/>
                  </a:cubicBezTo>
                  <a:cubicBezTo>
                    <a:pt x="289266" y="32878"/>
                    <a:pt x="291908" y="56551"/>
                    <a:pt x="282662" y="84169"/>
                  </a:cubicBezTo>
                  <a:cubicBezTo>
                    <a:pt x="299833" y="93375"/>
                    <a:pt x="311721" y="102581"/>
                    <a:pt x="318325" y="114417"/>
                  </a:cubicBezTo>
                  <a:cubicBezTo>
                    <a:pt x="328892" y="114417"/>
                    <a:pt x="338138" y="123623"/>
                    <a:pt x="338138" y="134144"/>
                  </a:cubicBezTo>
                  <a:cubicBezTo>
                    <a:pt x="338138" y="144665"/>
                    <a:pt x="328892" y="153871"/>
                    <a:pt x="318325" y="153871"/>
                  </a:cubicBezTo>
                  <a:cubicBezTo>
                    <a:pt x="311721" y="165707"/>
                    <a:pt x="298512" y="174913"/>
                    <a:pt x="282662" y="184119"/>
                  </a:cubicBezTo>
                  <a:cubicBezTo>
                    <a:pt x="291908" y="211737"/>
                    <a:pt x="289266" y="235410"/>
                    <a:pt x="276058" y="248561"/>
                  </a:cubicBezTo>
                  <a:cubicBezTo>
                    <a:pt x="268133" y="256452"/>
                    <a:pt x="257566" y="260397"/>
                    <a:pt x="243037" y="260397"/>
                  </a:cubicBezTo>
                  <a:cubicBezTo>
                    <a:pt x="237753" y="260397"/>
                    <a:pt x="232470" y="259082"/>
                    <a:pt x="225865" y="257767"/>
                  </a:cubicBezTo>
                  <a:cubicBezTo>
                    <a:pt x="206053" y="253822"/>
                    <a:pt x="184919" y="244616"/>
                    <a:pt x="161144" y="230149"/>
                  </a:cubicBezTo>
                  <a:cubicBezTo>
                    <a:pt x="151898" y="235410"/>
                    <a:pt x="142652" y="241985"/>
                    <a:pt x="133406" y="245931"/>
                  </a:cubicBezTo>
                  <a:cubicBezTo>
                    <a:pt x="133406" y="247246"/>
                    <a:pt x="133406" y="247246"/>
                    <a:pt x="133406" y="248561"/>
                  </a:cubicBezTo>
                  <a:cubicBezTo>
                    <a:pt x="133406" y="259082"/>
                    <a:pt x="124160" y="268288"/>
                    <a:pt x="112272" y="268288"/>
                  </a:cubicBezTo>
                  <a:cubicBezTo>
                    <a:pt x="105668" y="268288"/>
                    <a:pt x="99064" y="264343"/>
                    <a:pt x="95101" y="259082"/>
                  </a:cubicBezTo>
                  <a:cubicBezTo>
                    <a:pt x="89818" y="259082"/>
                    <a:pt x="84534" y="260397"/>
                    <a:pt x="80572" y="260397"/>
                  </a:cubicBezTo>
                  <a:cubicBezTo>
                    <a:pt x="66042" y="260397"/>
                    <a:pt x="55476" y="256452"/>
                    <a:pt x="47551" y="248561"/>
                  </a:cubicBezTo>
                  <a:cubicBezTo>
                    <a:pt x="34342" y="235410"/>
                    <a:pt x="31700" y="211737"/>
                    <a:pt x="40946" y="184119"/>
                  </a:cubicBezTo>
                  <a:cubicBezTo>
                    <a:pt x="14529" y="170968"/>
                    <a:pt x="0" y="152556"/>
                    <a:pt x="0" y="134144"/>
                  </a:cubicBezTo>
                  <a:cubicBezTo>
                    <a:pt x="0" y="115732"/>
                    <a:pt x="14529" y="97320"/>
                    <a:pt x="40946" y="84169"/>
                  </a:cubicBezTo>
                  <a:cubicBezTo>
                    <a:pt x="31700" y="56551"/>
                    <a:pt x="34342" y="32878"/>
                    <a:pt x="47551" y="19727"/>
                  </a:cubicBezTo>
                  <a:cubicBezTo>
                    <a:pt x="58117" y="9206"/>
                    <a:pt x="73968" y="6576"/>
                    <a:pt x="95101" y="9206"/>
                  </a:cubicBezTo>
                  <a:cubicBezTo>
                    <a:pt x="97743" y="3945"/>
                    <a:pt x="104347" y="0"/>
                    <a:pt x="112272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17" name="组合 16"/>
            <p:cNvGrpSpPr/>
            <p:nvPr/>
          </p:nvGrpSpPr>
          <p:grpSpPr>
            <a:xfrm>
              <a:off x="9107" y="4565"/>
              <a:ext cx="2719" cy="1728"/>
              <a:chOff x="6723970" y="2930779"/>
              <a:chExt cx="2241974" cy="1096881"/>
            </a:xfrm>
          </p:grpSpPr>
          <p:sp>
            <p:nvSpPr>
              <p:cNvPr id="18" name="矩形 17"/>
              <p:cNvSpPr/>
              <p:nvPr/>
            </p:nvSpPr>
            <p:spPr>
              <a:xfrm>
                <a:off x="6871280" y="3285516"/>
                <a:ext cx="1947353" cy="742144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+mn-ea"/>
                    <a:sym typeface="+mn-lt"/>
                  </a:rPr>
                  <a:t>Click here to add content, content to match the title. </a:t>
                </a:r>
                <a:endPara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9" name="矩形 18"/>
              <p:cNvSpPr/>
              <p:nvPr/>
            </p:nvSpPr>
            <p:spPr>
              <a:xfrm>
                <a:off x="6723970" y="2930779"/>
                <a:ext cx="2241974" cy="298640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altLang="zh-CN" sz="1200" b="1" dirty="0">
                    <a:solidFill>
                      <a:srgbClr val="9D6BAB"/>
                    </a:solidFill>
                    <a:cs typeface="+mn-ea"/>
                    <a:sym typeface="+mn-lt"/>
                  </a:rPr>
                  <a:t>Add title text</a:t>
                </a:r>
                <a:endParaRPr lang="zh-CN" altLang="en-US" sz="1200" b="1" dirty="0">
                  <a:solidFill>
                    <a:srgbClr val="9D6BAB"/>
                  </a:solidFill>
                  <a:cs typeface="+mn-ea"/>
                  <a:sym typeface="+mn-lt"/>
                </a:endParaRPr>
              </a:p>
            </p:txBody>
          </p:sp>
        </p:grpSp>
      </p:grpSp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400" tmFilter="0,0; .5, 1; 1, 1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31"/>
          <p:cNvSpPr txBox="1"/>
          <p:nvPr/>
        </p:nvSpPr>
        <p:spPr>
          <a:xfrm>
            <a:off x="1967706" y="106971"/>
            <a:ext cx="5208588" cy="646331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defPPr>
              <a:defRPr lang="zh-CN"/>
            </a:defPPr>
            <a:lvl1pPr lvl="0">
              <a:defRPr sz="3600" b="1">
                <a:solidFill>
                  <a:schemeClr val="accent2"/>
                </a:solidFill>
                <a:cs typeface="+mn-ea"/>
              </a:defRPr>
            </a:lvl1pPr>
          </a:lstStyle>
          <a:p>
            <a:pPr algn="ctr"/>
            <a:r>
              <a:rPr lang="en-US" altLang="zh-CN" dirty="0">
                <a:sym typeface="+mn-lt"/>
              </a:rPr>
              <a:t>Teaching Focus</a:t>
            </a:r>
            <a:endParaRPr lang="zh-CN" altLang="en-US" dirty="0">
              <a:sym typeface="+mn-lt"/>
            </a:endParaRPr>
          </a:p>
        </p:txBody>
      </p:sp>
      <p:pic>
        <p:nvPicPr>
          <p:cNvPr id="32" name="图片占位符 31"/>
          <p:cNvPicPr>
            <a:picLocks noGrp="1"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9725" y="1287145"/>
            <a:ext cx="2148840" cy="2221230"/>
          </a:xfrm>
          <a:custGeom>
            <a:avLst/>
            <a:gdLst>
              <a:gd name="connsiteX0" fmla="*/ 1458674 w 3581690"/>
              <a:gd name="connsiteY0" fmla="*/ 2345368 h 3701150"/>
              <a:gd name="connsiteX1" fmla="*/ 1585769 w 3581690"/>
              <a:gd name="connsiteY1" fmla="*/ 2367365 h 3701150"/>
              <a:gd name="connsiteX2" fmla="*/ 1770899 w 3581690"/>
              <a:gd name="connsiteY2" fmla="*/ 2787772 h 3701150"/>
              <a:gd name="connsiteX3" fmla="*/ 1496542 w 3581690"/>
              <a:gd name="connsiteY3" fmla="*/ 3493883 h 3701150"/>
              <a:gd name="connsiteX4" fmla="*/ 1076135 w 3581690"/>
              <a:gd name="connsiteY4" fmla="*/ 3679012 h 3701150"/>
              <a:gd name="connsiteX5" fmla="*/ 1076137 w 3581690"/>
              <a:gd name="connsiteY5" fmla="*/ 3679011 h 3701150"/>
              <a:gd name="connsiteX6" fmla="*/ 891008 w 3581690"/>
              <a:gd name="connsiteY6" fmla="*/ 3258604 h 3701150"/>
              <a:gd name="connsiteX7" fmla="*/ 1165363 w 3581690"/>
              <a:gd name="connsiteY7" fmla="*/ 2552494 h 3701150"/>
              <a:gd name="connsiteX8" fmla="*/ 1458674 w 3581690"/>
              <a:gd name="connsiteY8" fmla="*/ 2345368 h 3701150"/>
              <a:gd name="connsiteX9" fmla="*/ 2371782 w 3581690"/>
              <a:gd name="connsiteY9" fmla="*/ 146 h 3701150"/>
              <a:gd name="connsiteX10" fmla="*/ 2500851 w 3581690"/>
              <a:gd name="connsiteY10" fmla="*/ 22484 h 3701150"/>
              <a:gd name="connsiteX11" fmla="*/ 2688855 w 3581690"/>
              <a:gd name="connsiteY11" fmla="*/ 449420 h 3701150"/>
              <a:gd name="connsiteX12" fmla="*/ 2063486 w 3581690"/>
              <a:gd name="connsiteY12" fmla="*/ 2058937 h 3701150"/>
              <a:gd name="connsiteX13" fmla="*/ 1636550 w 3581690"/>
              <a:gd name="connsiteY13" fmla="*/ 2246942 h 3701150"/>
              <a:gd name="connsiteX14" fmla="*/ 1636551 w 3581690"/>
              <a:gd name="connsiteY14" fmla="*/ 2246941 h 3701150"/>
              <a:gd name="connsiteX15" fmla="*/ 1448547 w 3581690"/>
              <a:gd name="connsiteY15" fmla="*/ 1820006 h 3701150"/>
              <a:gd name="connsiteX16" fmla="*/ 2073916 w 3581690"/>
              <a:gd name="connsiteY16" fmla="*/ 210488 h 3701150"/>
              <a:gd name="connsiteX17" fmla="*/ 2371782 w 3581690"/>
              <a:gd name="connsiteY17" fmla="*/ 146 h 3701150"/>
              <a:gd name="connsiteX18" fmla="*/ 3242136 w 3581690"/>
              <a:gd name="connsiteY18" fmla="*/ 144 h 3701150"/>
              <a:gd name="connsiteX19" fmla="*/ 3371204 w 3581690"/>
              <a:gd name="connsiteY19" fmla="*/ 22483 h 3701150"/>
              <a:gd name="connsiteX20" fmla="*/ 3559210 w 3581690"/>
              <a:gd name="connsiteY20" fmla="*/ 449418 h 3701150"/>
              <a:gd name="connsiteX21" fmla="*/ 2378125 w 3581690"/>
              <a:gd name="connsiteY21" fmla="*/ 3489180 h 3701150"/>
              <a:gd name="connsiteX22" fmla="*/ 1951190 w 3581690"/>
              <a:gd name="connsiteY22" fmla="*/ 3677185 h 3701150"/>
              <a:gd name="connsiteX23" fmla="*/ 1951192 w 3581690"/>
              <a:gd name="connsiteY23" fmla="*/ 3677183 h 3701150"/>
              <a:gd name="connsiteX24" fmla="*/ 1763187 w 3581690"/>
              <a:gd name="connsiteY24" fmla="*/ 3250248 h 3701150"/>
              <a:gd name="connsiteX25" fmla="*/ 2944269 w 3581690"/>
              <a:gd name="connsiteY25" fmla="*/ 210486 h 3701150"/>
              <a:gd name="connsiteX26" fmla="*/ 3242136 w 3581690"/>
              <a:gd name="connsiteY26" fmla="*/ 144 h 3701150"/>
              <a:gd name="connsiteX27" fmla="*/ 1501430 w 3581690"/>
              <a:gd name="connsiteY27" fmla="*/ 144 h 3701150"/>
              <a:gd name="connsiteX28" fmla="*/ 1630499 w 3581690"/>
              <a:gd name="connsiteY28" fmla="*/ 22483 h 3701150"/>
              <a:gd name="connsiteX29" fmla="*/ 1818505 w 3581690"/>
              <a:gd name="connsiteY29" fmla="*/ 449417 h 3701150"/>
              <a:gd name="connsiteX30" fmla="*/ 637421 w 3581690"/>
              <a:gd name="connsiteY30" fmla="*/ 3489180 h 3701150"/>
              <a:gd name="connsiteX31" fmla="*/ 210485 w 3581690"/>
              <a:gd name="connsiteY31" fmla="*/ 3677185 h 3701150"/>
              <a:gd name="connsiteX32" fmla="*/ 210487 w 3581690"/>
              <a:gd name="connsiteY32" fmla="*/ 3677183 h 3701150"/>
              <a:gd name="connsiteX33" fmla="*/ 22483 w 3581690"/>
              <a:gd name="connsiteY33" fmla="*/ 3250248 h 3701150"/>
              <a:gd name="connsiteX34" fmla="*/ 1203564 w 3581690"/>
              <a:gd name="connsiteY34" fmla="*/ 210487 h 3701150"/>
              <a:gd name="connsiteX35" fmla="*/ 1501430 w 3581690"/>
              <a:gd name="connsiteY35" fmla="*/ 144 h 3701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3581690" h="3701150">
                <a:moveTo>
                  <a:pt x="1458674" y="2345368"/>
                </a:moveTo>
                <a:cubicBezTo>
                  <a:pt x="1500849" y="2344120"/>
                  <a:pt x="1543966" y="2351122"/>
                  <a:pt x="1585769" y="2367365"/>
                </a:cubicBezTo>
                <a:cubicBezTo>
                  <a:pt x="1752984" y="2432335"/>
                  <a:pt x="1835869" y="2620557"/>
                  <a:pt x="1770899" y="2787772"/>
                </a:cubicBezTo>
                <a:cubicBezTo>
                  <a:pt x="1679447" y="3023142"/>
                  <a:pt x="1587994" y="3258512"/>
                  <a:pt x="1496542" y="3493883"/>
                </a:cubicBezTo>
                <a:cubicBezTo>
                  <a:pt x="1431572" y="3661097"/>
                  <a:pt x="1243350" y="3743982"/>
                  <a:pt x="1076135" y="3679012"/>
                </a:cubicBezTo>
                <a:lnTo>
                  <a:pt x="1076137" y="3679011"/>
                </a:lnTo>
                <a:cubicBezTo>
                  <a:pt x="908922" y="3614041"/>
                  <a:pt x="826038" y="3425819"/>
                  <a:pt x="891008" y="3258604"/>
                </a:cubicBezTo>
                <a:lnTo>
                  <a:pt x="1165363" y="2552494"/>
                </a:lnTo>
                <a:cubicBezTo>
                  <a:pt x="1214090" y="2427083"/>
                  <a:pt x="1332147" y="2349108"/>
                  <a:pt x="1458674" y="2345368"/>
                </a:cubicBezTo>
                <a:close/>
                <a:moveTo>
                  <a:pt x="2371782" y="146"/>
                </a:moveTo>
                <a:cubicBezTo>
                  <a:pt x="2414612" y="-1121"/>
                  <a:pt x="2458398" y="5990"/>
                  <a:pt x="2500851" y="22484"/>
                </a:cubicBezTo>
                <a:cubicBezTo>
                  <a:pt x="2670661" y="88464"/>
                  <a:pt x="2754834" y="279610"/>
                  <a:pt x="2688855" y="449420"/>
                </a:cubicBezTo>
                <a:cubicBezTo>
                  <a:pt x="2480399" y="985926"/>
                  <a:pt x="2271941" y="1522432"/>
                  <a:pt x="2063486" y="2058937"/>
                </a:cubicBezTo>
                <a:cubicBezTo>
                  <a:pt x="1997506" y="2228748"/>
                  <a:pt x="1806361" y="2312921"/>
                  <a:pt x="1636550" y="2246942"/>
                </a:cubicBezTo>
                <a:lnTo>
                  <a:pt x="1636551" y="2246941"/>
                </a:lnTo>
                <a:cubicBezTo>
                  <a:pt x="1466741" y="2180961"/>
                  <a:pt x="1382568" y="1989816"/>
                  <a:pt x="1448547" y="1820006"/>
                </a:cubicBezTo>
                <a:lnTo>
                  <a:pt x="2073916" y="210488"/>
                </a:lnTo>
                <a:cubicBezTo>
                  <a:pt x="2123400" y="83131"/>
                  <a:pt x="2243290" y="3944"/>
                  <a:pt x="2371782" y="146"/>
                </a:cubicBezTo>
                <a:close/>
                <a:moveTo>
                  <a:pt x="3242136" y="144"/>
                </a:moveTo>
                <a:cubicBezTo>
                  <a:pt x="3284966" y="-1122"/>
                  <a:pt x="3328751" y="5988"/>
                  <a:pt x="3371204" y="22483"/>
                </a:cubicBezTo>
                <a:cubicBezTo>
                  <a:pt x="3541015" y="88461"/>
                  <a:pt x="3625187" y="279607"/>
                  <a:pt x="3559210" y="449418"/>
                </a:cubicBezTo>
                <a:cubicBezTo>
                  <a:pt x="3165514" y="1462673"/>
                  <a:pt x="2771821" y="2475926"/>
                  <a:pt x="2378125" y="3489180"/>
                </a:cubicBezTo>
                <a:cubicBezTo>
                  <a:pt x="2312147" y="3658990"/>
                  <a:pt x="2121001" y="3743163"/>
                  <a:pt x="1951190" y="3677185"/>
                </a:cubicBezTo>
                <a:lnTo>
                  <a:pt x="1951192" y="3677183"/>
                </a:lnTo>
                <a:cubicBezTo>
                  <a:pt x="1781381" y="3611204"/>
                  <a:pt x="1697209" y="3420059"/>
                  <a:pt x="1763187" y="3250248"/>
                </a:cubicBezTo>
                <a:lnTo>
                  <a:pt x="2944269" y="210486"/>
                </a:lnTo>
                <a:cubicBezTo>
                  <a:pt x="2993753" y="83129"/>
                  <a:pt x="3113644" y="3943"/>
                  <a:pt x="3242136" y="144"/>
                </a:cubicBezTo>
                <a:close/>
                <a:moveTo>
                  <a:pt x="1501430" y="144"/>
                </a:moveTo>
                <a:cubicBezTo>
                  <a:pt x="1544261" y="-1122"/>
                  <a:pt x="1588047" y="5988"/>
                  <a:pt x="1630499" y="22483"/>
                </a:cubicBezTo>
                <a:cubicBezTo>
                  <a:pt x="1800310" y="88461"/>
                  <a:pt x="1884482" y="279608"/>
                  <a:pt x="1818505" y="449417"/>
                </a:cubicBezTo>
                <a:cubicBezTo>
                  <a:pt x="1424809" y="1462673"/>
                  <a:pt x="1031116" y="2475925"/>
                  <a:pt x="637421" y="3489180"/>
                </a:cubicBezTo>
                <a:cubicBezTo>
                  <a:pt x="571442" y="3658990"/>
                  <a:pt x="380296" y="3743163"/>
                  <a:pt x="210485" y="3677185"/>
                </a:cubicBezTo>
                <a:lnTo>
                  <a:pt x="210487" y="3677183"/>
                </a:lnTo>
                <a:cubicBezTo>
                  <a:pt x="40676" y="3611205"/>
                  <a:pt x="-43496" y="3420059"/>
                  <a:pt x="22483" y="3250248"/>
                </a:cubicBezTo>
                <a:lnTo>
                  <a:pt x="1203564" y="210487"/>
                </a:lnTo>
                <a:cubicBezTo>
                  <a:pt x="1253048" y="83129"/>
                  <a:pt x="1372939" y="3942"/>
                  <a:pt x="1501430" y="144"/>
                </a:cubicBezTo>
                <a:close/>
              </a:path>
            </a:pathLst>
          </a:custGeom>
        </p:spPr>
      </p:pic>
      <p:grpSp>
        <p:nvGrpSpPr>
          <p:cNvPr id="2" name="组合 1"/>
          <p:cNvGrpSpPr/>
          <p:nvPr/>
        </p:nvGrpSpPr>
        <p:grpSpPr>
          <a:xfrm>
            <a:off x="3515360" y="1659890"/>
            <a:ext cx="3903345" cy="872085"/>
            <a:chOff x="6723970" y="2930779"/>
            <a:chExt cx="5000156" cy="871861"/>
          </a:xfrm>
        </p:grpSpPr>
        <p:sp>
          <p:nvSpPr>
            <p:cNvPr id="8" name="矩形 7"/>
            <p:cNvSpPr/>
            <p:nvPr/>
          </p:nvSpPr>
          <p:spPr>
            <a:xfrm>
              <a:off x="6723970" y="3285516"/>
              <a:ext cx="5000156" cy="517124"/>
            </a:xfrm>
            <a:prstGeom prst="rect">
              <a:avLst/>
            </a:prstGeom>
          </p:spPr>
          <p:txBody>
            <a:bodyPr wrap="square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just">
                <a:lnSpc>
                  <a:spcPct val="120000"/>
                </a:lnSpc>
              </a:pPr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Click here to add text content, such as keywords, some brief introductions, etc.</a:t>
              </a:r>
              <a:endPara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9" name="矩形 8"/>
            <p:cNvSpPr/>
            <p:nvPr/>
          </p:nvSpPr>
          <p:spPr>
            <a:xfrm>
              <a:off x="6723970" y="2930779"/>
              <a:ext cx="2241974" cy="298659"/>
            </a:xfrm>
            <a:prstGeom prst="rect">
              <a:avLst/>
            </a:prstGeom>
          </p:spPr>
          <p:txBody>
            <a:bodyPr wrap="square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just">
                <a:lnSpc>
                  <a:spcPct val="120000"/>
                </a:lnSpc>
              </a:pPr>
              <a:r>
                <a:rPr lang="en-US" altLang="zh-CN" sz="1200" b="1" dirty="0">
                  <a:solidFill>
                    <a:srgbClr val="9D6BAB"/>
                  </a:solidFill>
                  <a:cs typeface="+mn-ea"/>
                  <a:sym typeface="+mn-lt"/>
                </a:rPr>
                <a:t>Add title text</a:t>
              </a:r>
              <a:endParaRPr lang="zh-CN" altLang="en-US" sz="1200" b="1" dirty="0">
                <a:solidFill>
                  <a:srgbClr val="9D6BAB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0" name="组合 9"/>
          <p:cNvGrpSpPr/>
          <p:nvPr/>
        </p:nvGrpSpPr>
        <p:grpSpPr>
          <a:xfrm>
            <a:off x="3514725" y="3125471"/>
            <a:ext cx="3903980" cy="872129"/>
            <a:chOff x="6723970" y="2930779"/>
            <a:chExt cx="5000156" cy="871797"/>
          </a:xfrm>
        </p:grpSpPr>
        <p:sp>
          <p:nvSpPr>
            <p:cNvPr id="11" name="矩形 10"/>
            <p:cNvSpPr/>
            <p:nvPr/>
          </p:nvSpPr>
          <p:spPr>
            <a:xfrm>
              <a:off x="6723970" y="3285516"/>
              <a:ext cx="5000156" cy="517060"/>
            </a:xfrm>
            <a:prstGeom prst="rect">
              <a:avLst/>
            </a:prstGeom>
          </p:spPr>
          <p:txBody>
            <a:bodyPr wrap="square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just">
                <a:lnSpc>
                  <a:spcPct val="120000"/>
                </a:lnSpc>
              </a:pPr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Click here to add text content, such as keywords, some brief introductions, etc.</a:t>
              </a:r>
              <a:endPara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2" name="矩形 11"/>
            <p:cNvSpPr/>
            <p:nvPr/>
          </p:nvSpPr>
          <p:spPr>
            <a:xfrm>
              <a:off x="6723970" y="2930779"/>
              <a:ext cx="2241974" cy="298622"/>
            </a:xfrm>
            <a:prstGeom prst="rect">
              <a:avLst/>
            </a:prstGeom>
          </p:spPr>
          <p:txBody>
            <a:bodyPr wrap="square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just">
                <a:lnSpc>
                  <a:spcPct val="120000"/>
                </a:lnSpc>
              </a:pPr>
              <a:r>
                <a:rPr lang="en-US" altLang="zh-CN" sz="1200" b="1" dirty="0">
                  <a:solidFill>
                    <a:srgbClr val="9D6BAB"/>
                  </a:solidFill>
                  <a:cs typeface="+mn-ea"/>
                  <a:sym typeface="+mn-lt"/>
                </a:rPr>
                <a:t>Add title text</a:t>
              </a:r>
              <a:endParaRPr lang="zh-CN" altLang="en-US" sz="1200" b="1" dirty="0">
                <a:solidFill>
                  <a:srgbClr val="9D6BAB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6" name="椭圆 15"/>
          <p:cNvSpPr/>
          <p:nvPr/>
        </p:nvSpPr>
        <p:spPr>
          <a:xfrm>
            <a:off x="2493233" y="1822946"/>
            <a:ext cx="770775" cy="770775"/>
          </a:xfrm>
          <a:prstGeom prst="ellipse">
            <a:avLst/>
          </a:prstGeom>
          <a:solidFill>
            <a:srgbClr val="C8AC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7" name="椭圆 16"/>
          <p:cNvSpPr/>
          <p:nvPr/>
        </p:nvSpPr>
        <p:spPr>
          <a:xfrm>
            <a:off x="2493233" y="3222339"/>
            <a:ext cx="770775" cy="770775"/>
          </a:xfrm>
          <a:prstGeom prst="ellipse">
            <a:avLst/>
          </a:prstGeom>
          <a:solidFill>
            <a:srgbClr val="B1B5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7" name="椭圆 18"/>
          <p:cNvSpPr/>
          <p:nvPr/>
        </p:nvSpPr>
        <p:spPr>
          <a:xfrm>
            <a:off x="2648462" y="2021006"/>
            <a:ext cx="460318" cy="374656"/>
          </a:xfrm>
          <a:custGeom>
            <a:avLst/>
            <a:gdLst>
              <a:gd name="connsiteX0" fmla="*/ 172641 w 330427"/>
              <a:gd name="connsiteY0" fmla="*/ 200332 h 268937"/>
              <a:gd name="connsiteX1" fmla="*/ 157162 w 330427"/>
              <a:gd name="connsiteY1" fmla="*/ 202888 h 268937"/>
              <a:gd name="connsiteX2" fmla="*/ 159742 w 330427"/>
              <a:gd name="connsiteY2" fmla="*/ 228443 h 268937"/>
              <a:gd name="connsiteX3" fmla="*/ 162321 w 330427"/>
              <a:gd name="connsiteY3" fmla="*/ 251442 h 268937"/>
              <a:gd name="connsiteX4" fmla="*/ 167481 w 330427"/>
              <a:gd name="connsiteY4" fmla="*/ 245054 h 268937"/>
              <a:gd name="connsiteX5" fmla="*/ 172641 w 330427"/>
              <a:gd name="connsiteY5" fmla="*/ 245054 h 268937"/>
              <a:gd name="connsiteX6" fmla="*/ 177800 w 330427"/>
              <a:gd name="connsiteY6" fmla="*/ 252720 h 268937"/>
              <a:gd name="connsiteX7" fmla="*/ 175220 w 330427"/>
              <a:gd name="connsiteY7" fmla="*/ 200332 h 268937"/>
              <a:gd name="connsiteX8" fmla="*/ 172641 w 330427"/>
              <a:gd name="connsiteY8" fmla="*/ 200332 h 268937"/>
              <a:gd name="connsiteX9" fmla="*/ 212488 w 330427"/>
              <a:gd name="connsiteY9" fmla="*/ 188426 h 268937"/>
              <a:gd name="connsiteX10" fmla="*/ 183342 w 330427"/>
              <a:gd name="connsiteY10" fmla="*/ 189855 h 268937"/>
              <a:gd name="connsiteX11" fmla="*/ 166687 w 330427"/>
              <a:gd name="connsiteY11" fmla="*/ 193665 h 268937"/>
              <a:gd name="connsiteX12" fmla="*/ 173093 w 330427"/>
              <a:gd name="connsiteY12" fmla="*/ 192395 h 268937"/>
              <a:gd name="connsiteX13" fmla="*/ 239712 w 330427"/>
              <a:gd name="connsiteY13" fmla="*/ 198745 h 268937"/>
              <a:gd name="connsiteX14" fmla="*/ 239712 w 330427"/>
              <a:gd name="connsiteY14" fmla="*/ 197475 h 268937"/>
              <a:gd name="connsiteX15" fmla="*/ 212488 w 330427"/>
              <a:gd name="connsiteY15" fmla="*/ 188426 h 268937"/>
              <a:gd name="connsiteX16" fmla="*/ 256003 w 330427"/>
              <a:gd name="connsiteY16" fmla="*/ 135245 h 268937"/>
              <a:gd name="connsiteX17" fmla="*/ 250825 w 330427"/>
              <a:gd name="connsiteY17" fmla="*/ 140397 h 268937"/>
              <a:gd name="connsiteX18" fmla="*/ 278008 w 330427"/>
              <a:gd name="connsiteY18" fmla="*/ 170020 h 268937"/>
              <a:gd name="connsiteX19" fmla="*/ 316841 w 330427"/>
              <a:gd name="connsiteY19" fmla="*/ 200932 h 268937"/>
              <a:gd name="connsiteX20" fmla="*/ 293541 w 330427"/>
              <a:gd name="connsiteY20" fmla="*/ 159717 h 268937"/>
              <a:gd name="connsiteX21" fmla="*/ 256003 w 330427"/>
              <a:gd name="connsiteY21" fmla="*/ 135245 h 268937"/>
              <a:gd name="connsiteX22" fmla="*/ 231107 w 330427"/>
              <a:gd name="connsiteY22" fmla="*/ 76179 h 268937"/>
              <a:gd name="connsiteX23" fmla="*/ 247400 w 330427"/>
              <a:gd name="connsiteY23" fmla="*/ 88770 h 268937"/>
              <a:gd name="connsiteX24" fmla="*/ 242387 w 330427"/>
              <a:gd name="connsiteY24" fmla="*/ 111433 h 268937"/>
              <a:gd name="connsiteX25" fmla="*/ 238627 w 330427"/>
              <a:gd name="connsiteY25" fmla="*/ 107656 h 268937"/>
              <a:gd name="connsiteX26" fmla="*/ 241133 w 330427"/>
              <a:gd name="connsiteY26" fmla="*/ 100101 h 268937"/>
              <a:gd name="connsiteX27" fmla="*/ 238627 w 330427"/>
              <a:gd name="connsiteY27" fmla="*/ 91288 h 268937"/>
              <a:gd name="connsiteX28" fmla="*/ 229853 w 330427"/>
              <a:gd name="connsiteY28" fmla="*/ 79956 h 268937"/>
              <a:gd name="connsiteX29" fmla="*/ 231107 w 330427"/>
              <a:gd name="connsiteY29" fmla="*/ 76179 h 268937"/>
              <a:gd name="connsiteX30" fmla="*/ 216785 w 330427"/>
              <a:gd name="connsiteY30" fmla="*/ 48748 h 268937"/>
              <a:gd name="connsiteX31" fmla="*/ 191967 w 330427"/>
              <a:gd name="connsiteY31" fmla="*/ 56597 h 268937"/>
              <a:gd name="connsiteX32" fmla="*/ 190661 w 330427"/>
              <a:gd name="connsiteY32" fmla="*/ 56597 h 268937"/>
              <a:gd name="connsiteX33" fmla="*/ 169762 w 330427"/>
              <a:gd name="connsiteY33" fmla="*/ 114263 h 268937"/>
              <a:gd name="connsiteX34" fmla="*/ 231152 w 330427"/>
              <a:gd name="connsiteY34" fmla="*/ 141175 h 268937"/>
              <a:gd name="connsiteX35" fmla="*/ 261195 w 330427"/>
              <a:gd name="connsiteY35" fmla="*/ 83508 h 268937"/>
              <a:gd name="connsiteX36" fmla="*/ 241602 w 330427"/>
              <a:gd name="connsiteY36" fmla="*/ 55315 h 268937"/>
              <a:gd name="connsiteX37" fmla="*/ 216785 w 330427"/>
              <a:gd name="connsiteY37" fmla="*/ 48748 h 268937"/>
              <a:gd name="connsiteX38" fmla="*/ 39110 w 330427"/>
              <a:gd name="connsiteY38" fmla="*/ 44757 h 268937"/>
              <a:gd name="connsiteX39" fmla="*/ 23524 w 330427"/>
              <a:gd name="connsiteY39" fmla="*/ 62852 h 268937"/>
              <a:gd name="connsiteX40" fmla="*/ 23524 w 330427"/>
              <a:gd name="connsiteY40" fmla="*/ 91286 h 268937"/>
              <a:gd name="connsiteX41" fmla="*/ 27420 w 330427"/>
              <a:gd name="connsiteY41" fmla="*/ 190807 h 268937"/>
              <a:gd name="connsiteX42" fmla="*/ 65250 w 330427"/>
              <a:gd name="connsiteY42" fmla="*/ 181275 h 268937"/>
              <a:gd name="connsiteX43" fmla="*/ 103329 w 330427"/>
              <a:gd name="connsiteY43" fmla="*/ 180482 h 268937"/>
              <a:gd name="connsiteX44" fmla="*/ 107950 w 330427"/>
              <a:gd name="connsiteY44" fmla="*/ 181760 h 268937"/>
              <a:gd name="connsiteX45" fmla="*/ 104053 w 330427"/>
              <a:gd name="connsiteY45" fmla="*/ 180467 h 268937"/>
              <a:gd name="connsiteX46" fmla="*/ 103329 w 330427"/>
              <a:gd name="connsiteY46" fmla="*/ 180482 h 268937"/>
              <a:gd name="connsiteX47" fmla="*/ 84570 w 330427"/>
              <a:gd name="connsiteY47" fmla="*/ 175297 h 268937"/>
              <a:gd name="connsiteX48" fmla="*/ 41708 w 330427"/>
              <a:gd name="connsiteY48" fmla="*/ 172712 h 268937"/>
              <a:gd name="connsiteX49" fmla="*/ 39110 w 330427"/>
              <a:gd name="connsiteY49" fmla="*/ 170127 h 268937"/>
              <a:gd name="connsiteX50" fmla="*/ 39110 w 330427"/>
              <a:gd name="connsiteY50" fmla="*/ 168835 h 268937"/>
              <a:gd name="connsiteX51" fmla="*/ 36512 w 330427"/>
              <a:gd name="connsiteY51" fmla="*/ 130060 h 268937"/>
              <a:gd name="connsiteX52" fmla="*/ 37811 w 330427"/>
              <a:gd name="connsiteY52" fmla="*/ 88701 h 268937"/>
              <a:gd name="connsiteX53" fmla="*/ 39110 w 330427"/>
              <a:gd name="connsiteY53" fmla="*/ 44757 h 268937"/>
              <a:gd name="connsiteX54" fmla="*/ 211689 w 330427"/>
              <a:gd name="connsiteY54" fmla="*/ 37535 h 268937"/>
              <a:gd name="connsiteX55" fmla="*/ 237698 w 330427"/>
              <a:gd name="connsiteY55" fmla="*/ 42723 h 268937"/>
              <a:gd name="connsiteX56" fmla="*/ 267423 w 330427"/>
              <a:gd name="connsiteY56" fmla="*/ 73847 h 268937"/>
              <a:gd name="connsiteX57" fmla="*/ 260961 w 330427"/>
              <a:gd name="connsiteY57" fmla="*/ 127017 h 268937"/>
              <a:gd name="connsiteX58" fmla="*/ 322996 w 330427"/>
              <a:gd name="connsiteY58" fmla="*/ 207420 h 268937"/>
              <a:gd name="connsiteX59" fmla="*/ 281639 w 330427"/>
              <a:gd name="connsiteY59" fmla="*/ 186671 h 268937"/>
              <a:gd name="connsiteX60" fmla="*/ 245452 w 330427"/>
              <a:gd name="connsiteY60" fmla="*/ 143876 h 268937"/>
              <a:gd name="connsiteX61" fmla="*/ 236405 w 330427"/>
              <a:gd name="connsiteY61" fmla="*/ 149063 h 268937"/>
              <a:gd name="connsiteX62" fmla="*/ 162739 w 330427"/>
              <a:gd name="connsiteY62" fmla="*/ 119236 h 268937"/>
              <a:gd name="connsiteX63" fmla="*/ 188587 w 330427"/>
              <a:gd name="connsiteY63" fmla="*/ 47910 h 268937"/>
              <a:gd name="connsiteX64" fmla="*/ 211689 w 330427"/>
              <a:gd name="connsiteY64" fmla="*/ 37535 h 268937"/>
              <a:gd name="connsiteX65" fmla="*/ 65952 w 330427"/>
              <a:gd name="connsiteY65" fmla="*/ 10877 h 268937"/>
              <a:gd name="connsiteX66" fmla="*/ 50966 w 330427"/>
              <a:gd name="connsiteY66" fmla="*/ 17976 h 268937"/>
              <a:gd name="connsiteX67" fmla="*/ 48359 w 330427"/>
              <a:gd name="connsiteY67" fmla="*/ 45077 h 268937"/>
              <a:gd name="connsiteX68" fmla="*/ 48359 w 330427"/>
              <a:gd name="connsiteY68" fmla="*/ 113477 h 268937"/>
              <a:gd name="connsiteX69" fmla="*/ 45753 w 330427"/>
              <a:gd name="connsiteY69" fmla="*/ 167681 h 268937"/>
              <a:gd name="connsiteX70" fmla="*/ 131763 w 330427"/>
              <a:gd name="connsiteY70" fmla="*/ 184458 h 268937"/>
              <a:gd name="connsiteX71" fmla="*/ 127853 w 330427"/>
              <a:gd name="connsiteY71" fmla="*/ 94119 h 268937"/>
              <a:gd name="connsiteX72" fmla="*/ 126550 w 330427"/>
              <a:gd name="connsiteY72" fmla="*/ 57983 h 268937"/>
              <a:gd name="connsiteX73" fmla="*/ 127853 w 330427"/>
              <a:gd name="connsiteY73" fmla="*/ 43787 h 268937"/>
              <a:gd name="connsiteX74" fmla="*/ 84848 w 330427"/>
              <a:gd name="connsiteY74" fmla="*/ 15394 h 268937"/>
              <a:gd name="connsiteX75" fmla="*/ 65952 w 330427"/>
              <a:gd name="connsiteY75" fmla="*/ 10877 h 268937"/>
              <a:gd name="connsiteX76" fmla="*/ 69840 w 330427"/>
              <a:gd name="connsiteY76" fmla="*/ 321 h 268937"/>
              <a:gd name="connsiteX77" fmla="*/ 97841 w 330427"/>
              <a:gd name="connsiteY77" fmla="*/ 7948 h 268937"/>
              <a:gd name="connsiteX78" fmla="*/ 135175 w 330427"/>
              <a:gd name="connsiteY78" fmla="*/ 37807 h 268937"/>
              <a:gd name="connsiteX79" fmla="*/ 195682 w 330427"/>
              <a:gd name="connsiteY79" fmla="*/ 27421 h 268937"/>
              <a:gd name="connsiteX80" fmla="*/ 190532 w 330427"/>
              <a:gd name="connsiteY80" fmla="*/ 35210 h 268937"/>
              <a:gd name="connsiteX81" fmla="*/ 137749 w 330427"/>
              <a:gd name="connsiteY81" fmla="*/ 45596 h 268937"/>
              <a:gd name="connsiteX82" fmla="*/ 136462 w 330427"/>
              <a:gd name="connsiteY82" fmla="*/ 48192 h 268937"/>
              <a:gd name="connsiteX83" fmla="*/ 136462 w 330427"/>
              <a:gd name="connsiteY83" fmla="*/ 63770 h 268937"/>
              <a:gd name="connsiteX84" fmla="*/ 137749 w 330427"/>
              <a:gd name="connsiteY84" fmla="*/ 96225 h 268937"/>
              <a:gd name="connsiteX85" fmla="*/ 140324 w 330427"/>
              <a:gd name="connsiteY85" fmla="*/ 189695 h 268937"/>
              <a:gd name="connsiteX86" fmla="*/ 193107 w 330427"/>
              <a:gd name="connsiteY86" fmla="*/ 179310 h 268937"/>
              <a:gd name="connsiteX87" fmla="*/ 240740 w 330427"/>
              <a:gd name="connsiteY87" fmla="*/ 187099 h 268937"/>
              <a:gd name="connsiteX88" fmla="*/ 239452 w 330427"/>
              <a:gd name="connsiteY88" fmla="*/ 167626 h 268937"/>
              <a:gd name="connsiteX89" fmla="*/ 247177 w 330427"/>
              <a:gd name="connsiteY89" fmla="*/ 166328 h 268937"/>
              <a:gd name="connsiteX90" fmla="*/ 257476 w 330427"/>
              <a:gd name="connsiteY90" fmla="*/ 222150 h 268937"/>
              <a:gd name="connsiteX91" fmla="*/ 252326 w 330427"/>
              <a:gd name="connsiteY91" fmla="*/ 224746 h 268937"/>
              <a:gd name="connsiteX92" fmla="*/ 182808 w 330427"/>
              <a:gd name="connsiteY92" fmla="*/ 214361 h 268937"/>
              <a:gd name="connsiteX93" fmla="*/ 184095 w 330427"/>
              <a:gd name="connsiteY93" fmla="*/ 264990 h 268937"/>
              <a:gd name="connsiteX94" fmla="*/ 177658 w 330427"/>
              <a:gd name="connsiteY94" fmla="*/ 267587 h 268937"/>
              <a:gd name="connsiteX95" fmla="*/ 169934 w 330427"/>
              <a:gd name="connsiteY95" fmla="*/ 253307 h 268937"/>
              <a:gd name="connsiteX96" fmla="*/ 162210 w 330427"/>
              <a:gd name="connsiteY96" fmla="*/ 263692 h 268937"/>
              <a:gd name="connsiteX97" fmla="*/ 155773 w 330427"/>
              <a:gd name="connsiteY97" fmla="*/ 261096 h 268937"/>
              <a:gd name="connsiteX98" fmla="*/ 151911 w 330427"/>
              <a:gd name="connsiteY98" fmla="*/ 222150 h 268937"/>
              <a:gd name="connsiteX99" fmla="*/ 150623 w 330427"/>
              <a:gd name="connsiteY99" fmla="*/ 214361 h 268937"/>
              <a:gd name="connsiteX100" fmla="*/ 148048 w 330427"/>
              <a:gd name="connsiteY100" fmla="*/ 214361 h 268937"/>
              <a:gd name="connsiteX101" fmla="*/ 82392 w 330427"/>
              <a:gd name="connsiteY101" fmla="*/ 214361 h 268937"/>
              <a:gd name="connsiteX102" fmla="*/ 5149 w 330427"/>
              <a:gd name="connsiteY102" fmla="*/ 222150 h 268937"/>
              <a:gd name="connsiteX103" fmla="*/ 1287 w 330427"/>
              <a:gd name="connsiteY103" fmla="*/ 218255 h 268937"/>
              <a:gd name="connsiteX104" fmla="*/ 2575 w 330427"/>
              <a:gd name="connsiteY104" fmla="*/ 141662 h 268937"/>
              <a:gd name="connsiteX105" fmla="*/ 0 w 330427"/>
              <a:gd name="connsiteY105" fmla="*/ 66367 h 268937"/>
              <a:gd name="connsiteX106" fmla="*/ 3862 w 330427"/>
              <a:gd name="connsiteY106" fmla="*/ 62472 h 268937"/>
              <a:gd name="connsiteX107" fmla="*/ 16736 w 330427"/>
              <a:gd name="connsiteY107" fmla="*/ 62472 h 268937"/>
              <a:gd name="connsiteX108" fmla="*/ 39909 w 330427"/>
              <a:gd name="connsiteY108" fmla="*/ 36508 h 268937"/>
              <a:gd name="connsiteX109" fmla="*/ 39909 w 330427"/>
              <a:gd name="connsiteY109" fmla="*/ 33912 h 268937"/>
              <a:gd name="connsiteX110" fmla="*/ 43771 w 330427"/>
              <a:gd name="connsiteY110" fmla="*/ 9246 h 268937"/>
              <a:gd name="connsiteX111" fmla="*/ 69840 w 330427"/>
              <a:gd name="connsiteY111" fmla="*/ 321 h 268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330427" h="268937">
                <a:moveTo>
                  <a:pt x="172641" y="200332"/>
                </a:moveTo>
                <a:cubicBezTo>
                  <a:pt x="170061" y="200332"/>
                  <a:pt x="163611" y="201610"/>
                  <a:pt x="157162" y="202888"/>
                </a:cubicBezTo>
                <a:cubicBezTo>
                  <a:pt x="159742" y="209276"/>
                  <a:pt x="158452" y="220776"/>
                  <a:pt x="159742" y="228443"/>
                </a:cubicBezTo>
                <a:cubicBezTo>
                  <a:pt x="161032" y="236109"/>
                  <a:pt x="162321" y="243776"/>
                  <a:pt x="162321" y="251442"/>
                </a:cubicBezTo>
                <a:cubicBezTo>
                  <a:pt x="163611" y="248887"/>
                  <a:pt x="166191" y="246331"/>
                  <a:pt x="167481" y="245054"/>
                </a:cubicBezTo>
                <a:cubicBezTo>
                  <a:pt x="168771" y="242498"/>
                  <a:pt x="171351" y="242498"/>
                  <a:pt x="172641" y="245054"/>
                </a:cubicBezTo>
                <a:cubicBezTo>
                  <a:pt x="175220" y="247609"/>
                  <a:pt x="176510" y="250165"/>
                  <a:pt x="177800" y="252720"/>
                </a:cubicBezTo>
                <a:cubicBezTo>
                  <a:pt x="177800" y="234831"/>
                  <a:pt x="175220" y="218221"/>
                  <a:pt x="175220" y="200332"/>
                </a:cubicBezTo>
                <a:cubicBezTo>
                  <a:pt x="173930" y="200332"/>
                  <a:pt x="173930" y="200332"/>
                  <a:pt x="172641" y="200332"/>
                </a:cubicBezTo>
                <a:close/>
                <a:moveTo>
                  <a:pt x="212488" y="188426"/>
                </a:moveTo>
                <a:cubicBezTo>
                  <a:pt x="203200" y="187315"/>
                  <a:pt x="193591" y="187950"/>
                  <a:pt x="183342" y="189855"/>
                </a:cubicBezTo>
                <a:cubicBezTo>
                  <a:pt x="178217" y="191125"/>
                  <a:pt x="171812" y="192395"/>
                  <a:pt x="166687" y="193665"/>
                </a:cubicBezTo>
                <a:cubicBezTo>
                  <a:pt x="169249" y="193665"/>
                  <a:pt x="171812" y="192395"/>
                  <a:pt x="173093" y="192395"/>
                </a:cubicBezTo>
                <a:cubicBezTo>
                  <a:pt x="194872" y="192395"/>
                  <a:pt x="219214" y="189855"/>
                  <a:pt x="239712" y="198745"/>
                </a:cubicBezTo>
                <a:cubicBezTo>
                  <a:pt x="239712" y="197475"/>
                  <a:pt x="239712" y="197475"/>
                  <a:pt x="239712" y="197475"/>
                </a:cubicBezTo>
                <a:cubicBezTo>
                  <a:pt x="230744" y="192395"/>
                  <a:pt x="221776" y="189538"/>
                  <a:pt x="212488" y="188426"/>
                </a:cubicBezTo>
                <a:close/>
                <a:moveTo>
                  <a:pt x="256003" y="135245"/>
                </a:moveTo>
                <a:cubicBezTo>
                  <a:pt x="253414" y="136533"/>
                  <a:pt x="252119" y="139109"/>
                  <a:pt x="250825" y="140397"/>
                </a:cubicBezTo>
                <a:cubicBezTo>
                  <a:pt x="261181" y="149413"/>
                  <a:pt x="268947" y="159717"/>
                  <a:pt x="278008" y="170020"/>
                </a:cubicBezTo>
                <a:cubicBezTo>
                  <a:pt x="284480" y="176460"/>
                  <a:pt x="305191" y="203508"/>
                  <a:pt x="316841" y="200932"/>
                </a:cubicBezTo>
                <a:cubicBezTo>
                  <a:pt x="334963" y="194492"/>
                  <a:pt x="298719" y="162293"/>
                  <a:pt x="293541" y="159717"/>
                </a:cubicBezTo>
                <a:cubicBezTo>
                  <a:pt x="280597" y="150701"/>
                  <a:pt x="268947" y="142973"/>
                  <a:pt x="256003" y="135245"/>
                </a:cubicBezTo>
                <a:close/>
                <a:moveTo>
                  <a:pt x="231107" y="76179"/>
                </a:moveTo>
                <a:cubicBezTo>
                  <a:pt x="238627" y="74920"/>
                  <a:pt x="244893" y="82474"/>
                  <a:pt x="247400" y="88770"/>
                </a:cubicBezTo>
                <a:cubicBezTo>
                  <a:pt x="249906" y="95065"/>
                  <a:pt x="252413" y="108915"/>
                  <a:pt x="242387" y="111433"/>
                </a:cubicBezTo>
                <a:cubicBezTo>
                  <a:pt x="241133" y="111433"/>
                  <a:pt x="237373" y="110174"/>
                  <a:pt x="238627" y="107656"/>
                </a:cubicBezTo>
                <a:cubicBezTo>
                  <a:pt x="238627" y="105138"/>
                  <a:pt x="241133" y="102619"/>
                  <a:pt x="241133" y="100101"/>
                </a:cubicBezTo>
                <a:cubicBezTo>
                  <a:pt x="241133" y="96324"/>
                  <a:pt x="239880" y="93806"/>
                  <a:pt x="238627" y="91288"/>
                </a:cubicBezTo>
                <a:cubicBezTo>
                  <a:pt x="236120" y="87511"/>
                  <a:pt x="232360" y="82474"/>
                  <a:pt x="229853" y="79956"/>
                </a:cubicBezTo>
                <a:cubicBezTo>
                  <a:pt x="228600" y="78697"/>
                  <a:pt x="228600" y="76179"/>
                  <a:pt x="231107" y="76179"/>
                </a:cubicBezTo>
                <a:close/>
                <a:moveTo>
                  <a:pt x="216785" y="48748"/>
                </a:moveTo>
                <a:cubicBezTo>
                  <a:pt x="208621" y="48908"/>
                  <a:pt x="200457" y="51471"/>
                  <a:pt x="191967" y="56597"/>
                </a:cubicBezTo>
                <a:cubicBezTo>
                  <a:pt x="191967" y="56597"/>
                  <a:pt x="191967" y="56597"/>
                  <a:pt x="190661" y="56597"/>
                </a:cubicBezTo>
                <a:cubicBezTo>
                  <a:pt x="171068" y="69412"/>
                  <a:pt x="161925" y="92478"/>
                  <a:pt x="169762" y="114263"/>
                </a:cubicBezTo>
                <a:cubicBezTo>
                  <a:pt x="178905" y="139893"/>
                  <a:pt x="206335" y="152708"/>
                  <a:pt x="231152" y="141175"/>
                </a:cubicBezTo>
                <a:cubicBezTo>
                  <a:pt x="252051" y="130923"/>
                  <a:pt x="265113" y="106575"/>
                  <a:pt x="261195" y="83508"/>
                </a:cubicBezTo>
                <a:cubicBezTo>
                  <a:pt x="258582" y="71975"/>
                  <a:pt x="252051" y="61723"/>
                  <a:pt x="241602" y="55315"/>
                </a:cubicBezTo>
                <a:cubicBezTo>
                  <a:pt x="233112" y="50830"/>
                  <a:pt x="224948" y="48588"/>
                  <a:pt x="216785" y="48748"/>
                </a:cubicBezTo>
                <a:close/>
                <a:moveTo>
                  <a:pt x="39110" y="44757"/>
                </a:moveTo>
                <a:cubicBezTo>
                  <a:pt x="28719" y="46049"/>
                  <a:pt x="24823" y="51219"/>
                  <a:pt x="23524" y="62852"/>
                </a:cubicBezTo>
                <a:cubicBezTo>
                  <a:pt x="22225" y="71899"/>
                  <a:pt x="23524" y="82239"/>
                  <a:pt x="23524" y="91286"/>
                </a:cubicBezTo>
                <a:cubicBezTo>
                  <a:pt x="24823" y="124891"/>
                  <a:pt x="23524" y="157203"/>
                  <a:pt x="27420" y="190807"/>
                </a:cubicBezTo>
                <a:cubicBezTo>
                  <a:pt x="40409" y="186930"/>
                  <a:pt x="52748" y="183375"/>
                  <a:pt x="65250" y="181275"/>
                </a:cubicBezTo>
                <a:lnTo>
                  <a:pt x="103329" y="180482"/>
                </a:lnTo>
                <a:lnTo>
                  <a:pt x="107950" y="181760"/>
                </a:lnTo>
                <a:cubicBezTo>
                  <a:pt x="106651" y="180467"/>
                  <a:pt x="105352" y="180467"/>
                  <a:pt x="104053" y="180467"/>
                </a:cubicBezTo>
                <a:lnTo>
                  <a:pt x="103329" y="180482"/>
                </a:lnTo>
                <a:lnTo>
                  <a:pt x="84570" y="175297"/>
                </a:lnTo>
                <a:cubicBezTo>
                  <a:pt x="70283" y="174005"/>
                  <a:pt x="55995" y="175297"/>
                  <a:pt x="41708" y="172712"/>
                </a:cubicBezTo>
                <a:cubicBezTo>
                  <a:pt x="39110" y="172712"/>
                  <a:pt x="39110" y="171420"/>
                  <a:pt x="39110" y="170127"/>
                </a:cubicBezTo>
                <a:cubicBezTo>
                  <a:pt x="39110" y="170127"/>
                  <a:pt x="39110" y="168835"/>
                  <a:pt x="39110" y="168835"/>
                </a:cubicBezTo>
                <a:cubicBezTo>
                  <a:pt x="33915" y="155910"/>
                  <a:pt x="35214" y="142985"/>
                  <a:pt x="36512" y="130060"/>
                </a:cubicBezTo>
                <a:cubicBezTo>
                  <a:pt x="37811" y="115843"/>
                  <a:pt x="37811" y="102918"/>
                  <a:pt x="37811" y="88701"/>
                </a:cubicBezTo>
                <a:cubicBezTo>
                  <a:pt x="37811" y="73191"/>
                  <a:pt x="37811" y="58974"/>
                  <a:pt x="39110" y="44757"/>
                </a:cubicBezTo>
                <a:close/>
                <a:moveTo>
                  <a:pt x="211689" y="37535"/>
                </a:moveTo>
                <a:cubicBezTo>
                  <a:pt x="220897" y="37211"/>
                  <a:pt x="230590" y="39481"/>
                  <a:pt x="237698" y="42723"/>
                </a:cubicBezTo>
                <a:cubicBezTo>
                  <a:pt x="251914" y="47910"/>
                  <a:pt x="263546" y="59582"/>
                  <a:pt x="267423" y="73847"/>
                </a:cubicBezTo>
                <a:cubicBezTo>
                  <a:pt x="273885" y="90705"/>
                  <a:pt x="270008" y="111455"/>
                  <a:pt x="260961" y="127017"/>
                </a:cubicBezTo>
                <a:cubicBezTo>
                  <a:pt x="279054" y="136095"/>
                  <a:pt x="354013" y="181484"/>
                  <a:pt x="322996" y="207420"/>
                </a:cubicBezTo>
                <a:cubicBezTo>
                  <a:pt x="310072" y="217795"/>
                  <a:pt x="289394" y="195749"/>
                  <a:pt x="281639" y="186671"/>
                </a:cubicBezTo>
                <a:cubicBezTo>
                  <a:pt x="268715" y="173703"/>
                  <a:pt x="257084" y="158141"/>
                  <a:pt x="245452" y="143876"/>
                </a:cubicBezTo>
                <a:cubicBezTo>
                  <a:pt x="242867" y="145172"/>
                  <a:pt x="238990" y="147766"/>
                  <a:pt x="236405" y="149063"/>
                </a:cubicBezTo>
                <a:cubicBezTo>
                  <a:pt x="206680" y="162031"/>
                  <a:pt x="173078" y="150360"/>
                  <a:pt x="162739" y="119236"/>
                </a:cubicBezTo>
                <a:cubicBezTo>
                  <a:pt x="152400" y="92002"/>
                  <a:pt x="161447" y="59582"/>
                  <a:pt x="188587" y="47910"/>
                </a:cubicBezTo>
                <a:cubicBezTo>
                  <a:pt x="193757" y="40778"/>
                  <a:pt x="202480" y="37860"/>
                  <a:pt x="211689" y="37535"/>
                </a:cubicBezTo>
                <a:close/>
                <a:moveTo>
                  <a:pt x="65952" y="10877"/>
                </a:moveTo>
                <a:cubicBezTo>
                  <a:pt x="58459" y="10232"/>
                  <a:pt x="51617" y="11523"/>
                  <a:pt x="50966" y="17976"/>
                </a:cubicBezTo>
                <a:cubicBezTo>
                  <a:pt x="49663" y="27009"/>
                  <a:pt x="49663" y="36043"/>
                  <a:pt x="48359" y="45077"/>
                </a:cubicBezTo>
                <a:cubicBezTo>
                  <a:pt x="48359" y="68307"/>
                  <a:pt x="48359" y="91538"/>
                  <a:pt x="48359" y="113477"/>
                </a:cubicBezTo>
                <a:cubicBezTo>
                  <a:pt x="47056" y="131545"/>
                  <a:pt x="44450" y="149613"/>
                  <a:pt x="45753" y="167681"/>
                </a:cubicBezTo>
                <a:cubicBezTo>
                  <a:pt x="71817" y="165100"/>
                  <a:pt x="113518" y="162518"/>
                  <a:pt x="131763" y="184458"/>
                </a:cubicBezTo>
                <a:cubicBezTo>
                  <a:pt x="127853" y="154775"/>
                  <a:pt x="130460" y="123802"/>
                  <a:pt x="127853" y="94119"/>
                </a:cubicBezTo>
                <a:cubicBezTo>
                  <a:pt x="127853" y="82504"/>
                  <a:pt x="126550" y="69598"/>
                  <a:pt x="126550" y="57983"/>
                </a:cubicBezTo>
                <a:cubicBezTo>
                  <a:pt x="126550" y="52821"/>
                  <a:pt x="125247" y="47658"/>
                  <a:pt x="127853" y="43787"/>
                </a:cubicBezTo>
                <a:cubicBezTo>
                  <a:pt x="120034" y="28300"/>
                  <a:pt x="101790" y="19266"/>
                  <a:pt x="84848" y="15394"/>
                </a:cubicBezTo>
                <a:cubicBezTo>
                  <a:pt x="81591" y="14104"/>
                  <a:pt x="73446" y="11523"/>
                  <a:pt x="65952" y="10877"/>
                </a:cubicBezTo>
                <a:close/>
                <a:moveTo>
                  <a:pt x="69840" y="321"/>
                </a:moveTo>
                <a:cubicBezTo>
                  <a:pt x="80461" y="1457"/>
                  <a:pt x="91404" y="5352"/>
                  <a:pt x="97841" y="7948"/>
                </a:cubicBezTo>
                <a:cubicBezTo>
                  <a:pt x="112002" y="14439"/>
                  <a:pt x="128738" y="23527"/>
                  <a:pt x="135175" y="37807"/>
                </a:cubicBezTo>
                <a:cubicBezTo>
                  <a:pt x="151911" y="20930"/>
                  <a:pt x="173796" y="13141"/>
                  <a:pt x="195682" y="27421"/>
                </a:cubicBezTo>
                <a:cubicBezTo>
                  <a:pt x="199544" y="31316"/>
                  <a:pt x="195682" y="39105"/>
                  <a:pt x="190532" y="35210"/>
                </a:cubicBezTo>
                <a:cubicBezTo>
                  <a:pt x="169934" y="23527"/>
                  <a:pt x="154485" y="32614"/>
                  <a:pt x="137749" y="45596"/>
                </a:cubicBezTo>
                <a:cubicBezTo>
                  <a:pt x="137749" y="46894"/>
                  <a:pt x="137749" y="48192"/>
                  <a:pt x="136462" y="48192"/>
                </a:cubicBezTo>
                <a:cubicBezTo>
                  <a:pt x="136462" y="53385"/>
                  <a:pt x="136462" y="59876"/>
                  <a:pt x="136462" y="63770"/>
                </a:cubicBezTo>
                <a:cubicBezTo>
                  <a:pt x="136462" y="74156"/>
                  <a:pt x="137749" y="85840"/>
                  <a:pt x="137749" y="96225"/>
                </a:cubicBezTo>
                <a:cubicBezTo>
                  <a:pt x="139037" y="127382"/>
                  <a:pt x="141612" y="158538"/>
                  <a:pt x="140324" y="189695"/>
                </a:cubicBezTo>
                <a:cubicBezTo>
                  <a:pt x="157060" y="184502"/>
                  <a:pt x="175083" y="180608"/>
                  <a:pt x="193107" y="179310"/>
                </a:cubicBezTo>
                <a:cubicBezTo>
                  <a:pt x="208555" y="176713"/>
                  <a:pt x="227866" y="176713"/>
                  <a:pt x="240740" y="187099"/>
                </a:cubicBezTo>
                <a:cubicBezTo>
                  <a:pt x="239452" y="180608"/>
                  <a:pt x="239452" y="174117"/>
                  <a:pt x="239452" y="167626"/>
                </a:cubicBezTo>
                <a:cubicBezTo>
                  <a:pt x="239452" y="162433"/>
                  <a:pt x="245889" y="161135"/>
                  <a:pt x="247177" y="166328"/>
                </a:cubicBezTo>
                <a:cubicBezTo>
                  <a:pt x="257476" y="167626"/>
                  <a:pt x="258763" y="214361"/>
                  <a:pt x="257476" y="222150"/>
                </a:cubicBezTo>
                <a:cubicBezTo>
                  <a:pt x="256188" y="224746"/>
                  <a:pt x="253614" y="224746"/>
                  <a:pt x="252326" y="224746"/>
                </a:cubicBezTo>
                <a:cubicBezTo>
                  <a:pt x="229153" y="219554"/>
                  <a:pt x="204693" y="219554"/>
                  <a:pt x="182808" y="214361"/>
                </a:cubicBezTo>
                <a:cubicBezTo>
                  <a:pt x="182808" y="231237"/>
                  <a:pt x="184095" y="248114"/>
                  <a:pt x="184095" y="264990"/>
                </a:cubicBezTo>
                <a:cubicBezTo>
                  <a:pt x="184095" y="268885"/>
                  <a:pt x="178946" y="270183"/>
                  <a:pt x="177658" y="267587"/>
                </a:cubicBezTo>
                <a:cubicBezTo>
                  <a:pt x="175083" y="262394"/>
                  <a:pt x="172509" y="257201"/>
                  <a:pt x="169934" y="253307"/>
                </a:cubicBezTo>
                <a:cubicBezTo>
                  <a:pt x="167359" y="257201"/>
                  <a:pt x="164784" y="261096"/>
                  <a:pt x="162210" y="263692"/>
                </a:cubicBezTo>
                <a:cubicBezTo>
                  <a:pt x="159635" y="266289"/>
                  <a:pt x="155773" y="263692"/>
                  <a:pt x="155773" y="261096"/>
                </a:cubicBezTo>
                <a:cubicBezTo>
                  <a:pt x="155773" y="248114"/>
                  <a:pt x="153198" y="235132"/>
                  <a:pt x="151911" y="222150"/>
                </a:cubicBezTo>
                <a:cubicBezTo>
                  <a:pt x="151911" y="219554"/>
                  <a:pt x="150623" y="216957"/>
                  <a:pt x="150623" y="214361"/>
                </a:cubicBezTo>
                <a:cubicBezTo>
                  <a:pt x="150623" y="214361"/>
                  <a:pt x="149336" y="214361"/>
                  <a:pt x="148048" y="214361"/>
                </a:cubicBezTo>
                <a:cubicBezTo>
                  <a:pt x="128738" y="205273"/>
                  <a:pt x="102990" y="213063"/>
                  <a:pt x="82392" y="214361"/>
                </a:cubicBezTo>
                <a:cubicBezTo>
                  <a:pt x="56645" y="215659"/>
                  <a:pt x="30897" y="224746"/>
                  <a:pt x="5149" y="222150"/>
                </a:cubicBezTo>
                <a:cubicBezTo>
                  <a:pt x="2575" y="220852"/>
                  <a:pt x="1287" y="219554"/>
                  <a:pt x="1287" y="218255"/>
                </a:cubicBezTo>
                <a:cubicBezTo>
                  <a:pt x="0" y="192292"/>
                  <a:pt x="1287" y="167626"/>
                  <a:pt x="2575" y="141662"/>
                </a:cubicBezTo>
                <a:cubicBezTo>
                  <a:pt x="3862" y="116996"/>
                  <a:pt x="0" y="91032"/>
                  <a:pt x="0" y="66367"/>
                </a:cubicBezTo>
                <a:cubicBezTo>
                  <a:pt x="0" y="63770"/>
                  <a:pt x="1287" y="61174"/>
                  <a:pt x="3862" y="62472"/>
                </a:cubicBezTo>
                <a:cubicBezTo>
                  <a:pt x="7724" y="62472"/>
                  <a:pt x="11586" y="62472"/>
                  <a:pt x="16736" y="62472"/>
                </a:cubicBezTo>
                <a:cubicBezTo>
                  <a:pt x="18023" y="48192"/>
                  <a:pt x="24460" y="31316"/>
                  <a:pt x="39909" y="36508"/>
                </a:cubicBezTo>
                <a:cubicBezTo>
                  <a:pt x="39909" y="35210"/>
                  <a:pt x="39909" y="33912"/>
                  <a:pt x="39909" y="33912"/>
                </a:cubicBezTo>
                <a:cubicBezTo>
                  <a:pt x="41196" y="24825"/>
                  <a:pt x="39909" y="17036"/>
                  <a:pt x="43771" y="9246"/>
                </a:cubicBezTo>
                <a:cubicBezTo>
                  <a:pt x="48920" y="808"/>
                  <a:pt x="59219" y="-815"/>
                  <a:pt x="69840" y="32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8" name="椭圆 19"/>
          <p:cNvSpPr/>
          <p:nvPr/>
        </p:nvSpPr>
        <p:spPr>
          <a:xfrm>
            <a:off x="2648462" y="3379770"/>
            <a:ext cx="460318" cy="455913"/>
          </a:xfrm>
          <a:custGeom>
            <a:avLst/>
            <a:gdLst>
              <a:gd name="connsiteX0" fmla="*/ 57150 w 331788"/>
              <a:gd name="connsiteY0" fmla="*/ 244475 h 328613"/>
              <a:gd name="connsiteX1" fmla="*/ 190500 w 331788"/>
              <a:gd name="connsiteY1" fmla="*/ 244475 h 328613"/>
              <a:gd name="connsiteX2" fmla="*/ 179388 w 331788"/>
              <a:gd name="connsiteY2" fmla="*/ 266700 h 328613"/>
              <a:gd name="connsiteX3" fmla="*/ 44450 w 331788"/>
              <a:gd name="connsiteY3" fmla="*/ 266700 h 328613"/>
              <a:gd name="connsiteX4" fmla="*/ 238052 w 331788"/>
              <a:gd name="connsiteY4" fmla="*/ 236537 h 328613"/>
              <a:gd name="connsiteX5" fmla="*/ 267850 w 331788"/>
              <a:gd name="connsiteY5" fmla="*/ 306387 h 328613"/>
              <a:gd name="connsiteX6" fmla="*/ 308012 w 331788"/>
              <a:gd name="connsiteY6" fmla="*/ 236537 h 328613"/>
              <a:gd name="connsiteX7" fmla="*/ 238052 w 331788"/>
              <a:gd name="connsiteY7" fmla="*/ 236537 h 328613"/>
              <a:gd name="connsiteX8" fmla="*/ 79375 w 331788"/>
              <a:gd name="connsiteY8" fmla="*/ 198437 h 328613"/>
              <a:gd name="connsiteX9" fmla="*/ 211138 w 331788"/>
              <a:gd name="connsiteY9" fmla="*/ 198437 h 328613"/>
              <a:gd name="connsiteX10" fmla="*/ 200026 w 331788"/>
              <a:gd name="connsiteY10" fmla="*/ 220662 h 328613"/>
              <a:gd name="connsiteX11" fmla="*/ 66675 w 331788"/>
              <a:gd name="connsiteY11" fmla="*/ 220662 h 328613"/>
              <a:gd name="connsiteX12" fmla="*/ 98425 w 331788"/>
              <a:gd name="connsiteY12" fmla="*/ 152400 h 328613"/>
              <a:gd name="connsiteX13" fmla="*/ 230187 w 331788"/>
              <a:gd name="connsiteY13" fmla="*/ 152400 h 328613"/>
              <a:gd name="connsiteX14" fmla="*/ 220662 w 331788"/>
              <a:gd name="connsiteY14" fmla="*/ 174625 h 328613"/>
              <a:gd name="connsiteX15" fmla="*/ 87312 w 331788"/>
              <a:gd name="connsiteY15" fmla="*/ 174625 h 328613"/>
              <a:gd name="connsiteX16" fmla="*/ 267855 w 331788"/>
              <a:gd name="connsiteY16" fmla="*/ 20637 h 328613"/>
              <a:gd name="connsiteX17" fmla="*/ 230188 w 331788"/>
              <a:gd name="connsiteY17" fmla="*/ 108828 h 328613"/>
              <a:gd name="connsiteX18" fmla="*/ 234084 w 331788"/>
              <a:gd name="connsiteY18" fmla="*/ 116610 h 328613"/>
              <a:gd name="connsiteX19" fmla="*/ 224992 w 331788"/>
              <a:gd name="connsiteY19" fmla="*/ 125688 h 328613"/>
              <a:gd name="connsiteX20" fmla="*/ 78221 w 331788"/>
              <a:gd name="connsiteY20" fmla="*/ 125688 h 328613"/>
              <a:gd name="connsiteX21" fmla="*/ 28864 w 331788"/>
              <a:gd name="connsiteY21" fmla="*/ 224255 h 328613"/>
              <a:gd name="connsiteX22" fmla="*/ 15875 w 331788"/>
              <a:gd name="connsiteY22" fmla="*/ 263164 h 328613"/>
              <a:gd name="connsiteX23" fmla="*/ 60036 w 331788"/>
              <a:gd name="connsiteY23" fmla="*/ 311150 h 328613"/>
              <a:gd name="connsiteX24" fmla="*/ 232786 w 331788"/>
              <a:gd name="connsiteY24" fmla="*/ 311150 h 328613"/>
              <a:gd name="connsiteX25" fmla="*/ 205509 w 331788"/>
              <a:gd name="connsiteY25" fmla="*/ 263164 h 328613"/>
              <a:gd name="connsiteX26" fmla="*/ 232786 w 331788"/>
              <a:gd name="connsiteY26" fmla="*/ 213880 h 328613"/>
              <a:gd name="connsiteX27" fmla="*/ 314614 w 331788"/>
              <a:gd name="connsiteY27" fmla="*/ 69920 h 328613"/>
              <a:gd name="connsiteX28" fmla="*/ 267855 w 331788"/>
              <a:gd name="connsiteY28" fmla="*/ 20637 h 328613"/>
              <a:gd name="connsiteX29" fmla="*/ 64098 w 331788"/>
              <a:gd name="connsiteY29" fmla="*/ 17462 h 328613"/>
              <a:gd name="connsiteX30" fmla="*/ 17178 w 331788"/>
              <a:gd name="connsiteY30" fmla="*/ 65291 h 328613"/>
              <a:gd name="connsiteX31" fmla="*/ 31515 w 331788"/>
              <a:gd name="connsiteY31" fmla="*/ 107950 h 328613"/>
              <a:gd name="connsiteX32" fmla="*/ 211373 w 331788"/>
              <a:gd name="connsiteY32" fmla="*/ 107950 h 328613"/>
              <a:gd name="connsiteX33" fmla="*/ 202250 w 331788"/>
              <a:gd name="connsiteY33" fmla="*/ 65291 h 328613"/>
              <a:gd name="connsiteX34" fmla="*/ 227013 w 331788"/>
              <a:gd name="connsiteY34" fmla="*/ 17462 h 328613"/>
              <a:gd name="connsiteX35" fmla="*/ 64098 w 331788"/>
              <a:gd name="connsiteY35" fmla="*/ 17462 h 328613"/>
              <a:gd name="connsiteX36" fmla="*/ 66098 w 331788"/>
              <a:gd name="connsiteY36" fmla="*/ 0 h 328613"/>
              <a:gd name="connsiteX37" fmla="*/ 263098 w 331788"/>
              <a:gd name="connsiteY37" fmla="*/ 0 h 328613"/>
              <a:gd name="connsiteX38" fmla="*/ 331788 w 331788"/>
              <a:gd name="connsiteY38" fmla="*/ 69862 h 328613"/>
              <a:gd name="connsiteX39" fmla="*/ 255321 w 331788"/>
              <a:gd name="connsiteY39" fmla="*/ 217350 h 328613"/>
              <a:gd name="connsiteX40" fmla="*/ 304571 w 331788"/>
              <a:gd name="connsiteY40" fmla="*/ 217350 h 328613"/>
              <a:gd name="connsiteX41" fmla="*/ 322716 w 331788"/>
              <a:gd name="connsiteY41" fmla="*/ 228994 h 328613"/>
              <a:gd name="connsiteX42" fmla="*/ 331788 w 331788"/>
              <a:gd name="connsiteY42" fmla="*/ 262632 h 328613"/>
              <a:gd name="connsiteX43" fmla="*/ 256617 w 331788"/>
              <a:gd name="connsiteY43" fmla="*/ 327319 h 328613"/>
              <a:gd name="connsiteX44" fmla="*/ 57026 w 331788"/>
              <a:gd name="connsiteY44" fmla="*/ 328613 h 328613"/>
              <a:gd name="connsiteX45" fmla="*/ 0 w 331788"/>
              <a:gd name="connsiteY45" fmla="*/ 262632 h 328613"/>
              <a:gd name="connsiteX46" fmla="*/ 19441 w 331788"/>
              <a:gd name="connsiteY46" fmla="*/ 209588 h 328613"/>
              <a:gd name="connsiteX47" fmla="*/ 60914 w 331788"/>
              <a:gd name="connsiteY47" fmla="*/ 125494 h 328613"/>
              <a:gd name="connsiteX48" fmla="*/ 33697 w 331788"/>
              <a:gd name="connsiteY48" fmla="*/ 125494 h 328613"/>
              <a:gd name="connsiteX49" fmla="*/ 19441 w 331788"/>
              <a:gd name="connsiteY49" fmla="*/ 119025 h 328613"/>
              <a:gd name="connsiteX50" fmla="*/ 0 w 331788"/>
              <a:gd name="connsiteY50" fmla="*/ 69862 h 328613"/>
              <a:gd name="connsiteX51" fmla="*/ 66098 w 331788"/>
              <a:gd name="connsiteY51" fmla="*/ 0 h 3286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331788" h="328613">
                <a:moveTo>
                  <a:pt x="57150" y="244475"/>
                </a:moveTo>
                <a:lnTo>
                  <a:pt x="190500" y="244475"/>
                </a:lnTo>
                <a:lnTo>
                  <a:pt x="179388" y="266700"/>
                </a:lnTo>
                <a:lnTo>
                  <a:pt x="44450" y="266700"/>
                </a:lnTo>
                <a:close/>
                <a:moveTo>
                  <a:pt x="238052" y="236537"/>
                </a:moveTo>
                <a:cubicBezTo>
                  <a:pt x="209550" y="263701"/>
                  <a:pt x="238052" y="306387"/>
                  <a:pt x="267850" y="306387"/>
                </a:cubicBezTo>
                <a:cubicBezTo>
                  <a:pt x="314490" y="306387"/>
                  <a:pt x="322263" y="253353"/>
                  <a:pt x="308012" y="236537"/>
                </a:cubicBezTo>
                <a:cubicBezTo>
                  <a:pt x="308012" y="236537"/>
                  <a:pt x="308012" y="236537"/>
                  <a:pt x="238052" y="236537"/>
                </a:cubicBezTo>
                <a:close/>
                <a:moveTo>
                  <a:pt x="79375" y="198437"/>
                </a:moveTo>
                <a:lnTo>
                  <a:pt x="211138" y="198437"/>
                </a:lnTo>
                <a:lnTo>
                  <a:pt x="200026" y="220662"/>
                </a:lnTo>
                <a:lnTo>
                  <a:pt x="66675" y="220662"/>
                </a:lnTo>
                <a:close/>
                <a:moveTo>
                  <a:pt x="98425" y="152400"/>
                </a:moveTo>
                <a:lnTo>
                  <a:pt x="230187" y="152400"/>
                </a:lnTo>
                <a:lnTo>
                  <a:pt x="220662" y="174625"/>
                </a:lnTo>
                <a:lnTo>
                  <a:pt x="87312" y="174625"/>
                </a:lnTo>
                <a:close/>
                <a:moveTo>
                  <a:pt x="267855" y="20637"/>
                </a:moveTo>
                <a:cubicBezTo>
                  <a:pt x="208107" y="20637"/>
                  <a:pt x="215900" y="84187"/>
                  <a:pt x="230188" y="108828"/>
                </a:cubicBezTo>
                <a:cubicBezTo>
                  <a:pt x="231487" y="111422"/>
                  <a:pt x="232786" y="114016"/>
                  <a:pt x="234084" y="116610"/>
                </a:cubicBezTo>
                <a:cubicBezTo>
                  <a:pt x="235383" y="117907"/>
                  <a:pt x="236682" y="125688"/>
                  <a:pt x="224992" y="125688"/>
                </a:cubicBezTo>
                <a:cubicBezTo>
                  <a:pt x="224992" y="125688"/>
                  <a:pt x="224992" y="125688"/>
                  <a:pt x="78221" y="125688"/>
                </a:cubicBezTo>
                <a:cubicBezTo>
                  <a:pt x="74324" y="165893"/>
                  <a:pt x="44450" y="202207"/>
                  <a:pt x="28864" y="224255"/>
                </a:cubicBezTo>
                <a:cubicBezTo>
                  <a:pt x="21070" y="237225"/>
                  <a:pt x="15875" y="248897"/>
                  <a:pt x="15875" y="263164"/>
                </a:cubicBezTo>
                <a:cubicBezTo>
                  <a:pt x="15875" y="287805"/>
                  <a:pt x="35358" y="309853"/>
                  <a:pt x="60036" y="311150"/>
                </a:cubicBezTo>
                <a:lnTo>
                  <a:pt x="232786" y="311150"/>
                </a:lnTo>
                <a:cubicBezTo>
                  <a:pt x="217199" y="300775"/>
                  <a:pt x="205509" y="282618"/>
                  <a:pt x="205509" y="263164"/>
                </a:cubicBezTo>
                <a:cubicBezTo>
                  <a:pt x="205509" y="242412"/>
                  <a:pt x="217199" y="226849"/>
                  <a:pt x="232786" y="213880"/>
                </a:cubicBezTo>
                <a:cubicBezTo>
                  <a:pt x="232786" y="213880"/>
                  <a:pt x="312016" y="143846"/>
                  <a:pt x="314614" y="69920"/>
                </a:cubicBezTo>
                <a:cubicBezTo>
                  <a:pt x="315913" y="42685"/>
                  <a:pt x="295131" y="20637"/>
                  <a:pt x="267855" y="20637"/>
                </a:cubicBezTo>
                <a:close/>
                <a:moveTo>
                  <a:pt x="64098" y="17462"/>
                </a:moveTo>
                <a:cubicBezTo>
                  <a:pt x="39335" y="17462"/>
                  <a:pt x="17178" y="39438"/>
                  <a:pt x="17178" y="65291"/>
                </a:cubicBezTo>
                <a:cubicBezTo>
                  <a:pt x="15875" y="93730"/>
                  <a:pt x="31515" y="107950"/>
                  <a:pt x="31515" y="107950"/>
                </a:cubicBezTo>
                <a:lnTo>
                  <a:pt x="211373" y="107950"/>
                </a:lnTo>
                <a:cubicBezTo>
                  <a:pt x="204857" y="95023"/>
                  <a:pt x="202250" y="78218"/>
                  <a:pt x="202250" y="65291"/>
                </a:cubicBezTo>
                <a:cubicBezTo>
                  <a:pt x="202250" y="45901"/>
                  <a:pt x="212677" y="27803"/>
                  <a:pt x="227013" y="17462"/>
                </a:cubicBezTo>
                <a:cubicBezTo>
                  <a:pt x="227013" y="17462"/>
                  <a:pt x="227013" y="17462"/>
                  <a:pt x="64098" y="17462"/>
                </a:cubicBezTo>
                <a:close/>
                <a:moveTo>
                  <a:pt x="66098" y="0"/>
                </a:moveTo>
                <a:cubicBezTo>
                  <a:pt x="66098" y="0"/>
                  <a:pt x="66098" y="0"/>
                  <a:pt x="263098" y="0"/>
                </a:cubicBezTo>
                <a:cubicBezTo>
                  <a:pt x="300683" y="0"/>
                  <a:pt x="331788" y="31050"/>
                  <a:pt x="331788" y="69862"/>
                </a:cubicBezTo>
                <a:cubicBezTo>
                  <a:pt x="331788" y="137138"/>
                  <a:pt x="278650" y="194063"/>
                  <a:pt x="255321" y="217350"/>
                </a:cubicBezTo>
                <a:cubicBezTo>
                  <a:pt x="255321" y="217350"/>
                  <a:pt x="255321" y="217350"/>
                  <a:pt x="304571" y="217350"/>
                </a:cubicBezTo>
                <a:cubicBezTo>
                  <a:pt x="312347" y="217350"/>
                  <a:pt x="318828" y="222525"/>
                  <a:pt x="322716" y="228994"/>
                </a:cubicBezTo>
                <a:cubicBezTo>
                  <a:pt x="329196" y="239344"/>
                  <a:pt x="331788" y="250988"/>
                  <a:pt x="331788" y="262632"/>
                </a:cubicBezTo>
                <a:cubicBezTo>
                  <a:pt x="331788" y="300151"/>
                  <a:pt x="295499" y="327319"/>
                  <a:pt x="256617" y="327319"/>
                </a:cubicBezTo>
                <a:cubicBezTo>
                  <a:pt x="250137" y="327319"/>
                  <a:pt x="58322" y="328613"/>
                  <a:pt x="57026" y="328613"/>
                </a:cubicBezTo>
                <a:cubicBezTo>
                  <a:pt x="22033" y="324732"/>
                  <a:pt x="0" y="297563"/>
                  <a:pt x="0" y="262632"/>
                </a:cubicBezTo>
                <a:cubicBezTo>
                  <a:pt x="0" y="232875"/>
                  <a:pt x="19441" y="209588"/>
                  <a:pt x="19441" y="209588"/>
                </a:cubicBezTo>
                <a:cubicBezTo>
                  <a:pt x="64802" y="147488"/>
                  <a:pt x="60914" y="125494"/>
                  <a:pt x="60914" y="125494"/>
                </a:cubicBezTo>
                <a:cubicBezTo>
                  <a:pt x="60914" y="125494"/>
                  <a:pt x="60914" y="125494"/>
                  <a:pt x="33697" y="125494"/>
                </a:cubicBezTo>
                <a:cubicBezTo>
                  <a:pt x="28513" y="125494"/>
                  <a:pt x="23329" y="122906"/>
                  <a:pt x="19441" y="119025"/>
                </a:cubicBezTo>
                <a:cubicBezTo>
                  <a:pt x="6480" y="106088"/>
                  <a:pt x="0" y="87975"/>
                  <a:pt x="0" y="69862"/>
                </a:cubicBezTo>
                <a:cubicBezTo>
                  <a:pt x="0" y="34931"/>
                  <a:pt x="28513" y="0"/>
                  <a:pt x="66098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400" tmFilter="0,0; .5, 1; 1, 1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6" grpId="0" animBg="1"/>
      <p:bldP spid="17" grpId="0" animBg="1"/>
      <p:bldP spid="27" grpId="0" animBg="1"/>
      <p:bldP spid="2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31"/>
          <p:cNvSpPr txBox="1"/>
          <p:nvPr/>
        </p:nvSpPr>
        <p:spPr>
          <a:xfrm>
            <a:off x="1937592" y="121886"/>
            <a:ext cx="5208588" cy="5847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defPPr>
              <a:defRPr lang="zh-CN"/>
            </a:defPPr>
            <a:lvl1pPr lvl="0">
              <a:defRPr sz="3600" b="1">
                <a:solidFill>
                  <a:schemeClr val="accent2"/>
                </a:solidFill>
                <a:cs typeface="+mn-ea"/>
              </a:defRPr>
            </a:lvl1pPr>
          </a:lstStyle>
          <a:p>
            <a:pPr algn="ctr"/>
            <a:r>
              <a:rPr lang="en-US" altLang="zh-CN" sz="3200" dirty="0">
                <a:sym typeface="+mn-lt"/>
              </a:rPr>
              <a:t>Academic Analysis</a:t>
            </a:r>
            <a:endParaRPr lang="zh-CN" altLang="en-US" sz="3200" dirty="0">
              <a:sym typeface="+mn-lt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5213350" y="1672590"/>
            <a:ext cx="2536190" cy="2614930"/>
            <a:chOff x="8210" y="2634"/>
            <a:chExt cx="3994" cy="4118"/>
          </a:xfrm>
        </p:grpSpPr>
        <p:grpSp>
          <p:nvGrpSpPr>
            <p:cNvPr id="11" name="组合 10"/>
            <p:cNvGrpSpPr/>
            <p:nvPr/>
          </p:nvGrpSpPr>
          <p:grpSpPr>
            <a:xfrm>
              <a:off x="8210" y="2634"/>
              <a:ext cx="3995" cy="4119"/>
              <a:chOff x="2050" y="3202"/>
              <a:chExt cx="5584" cy="5567"/>
            </a:xfrm>
          </p:grpSpPr>
          <p:sp>
            <p:nvSpPr>
              <p:cNvPr id="2" name="矩形: 圆角 6"/>
              <p:cNvSpPr/>
              <p:nvPr/>
            </p:nvSpPr>
            <p:spPr>
              <a:xfrm>
                <a:off x="2050" y="3202"/>
                <a:ext cx="2659" cy="2659"/>
              </a:xfrm>
              <a:prstGeom prst="roundRect">
                <a:avLst/>
              </a:prstGeom>
              <a:solidFill>
                <a:srgbClr val="C8ACE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8" name="矩形: 圆角 7"/>
              <p:cNvSpPr/>
              <p:nvPr/>
            </p:nvSpPr>
            <p:spPr>
              <a:xfrm>
                <a:off x="4975" y="3202"/>
                <a:ext cx="2659" cy="2659"/>
              </a:xfrm>
              <a:prstGeom prst="roundRect">
                <a:avLst/>
              </a:prstGeom>
              <a:solidFill>
                <a:srgbClr val="BFC3E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9" name="矩形: 圆角 8"/>
              <p:cNvSpPr/>
              <p:nvPr/>
            </p:nvSpPr>
            <p:spPr>
              <a:xfrm>
                <a:off x="2050" y="6074"/>
                <a:ext cx="2659" cy="2659"/>
              </a:xfrm>
              <a:prstGeom prst="roundRect">
                <a:avLst/>
              </a:prstGeom>
              <a:solidFill>
                <a:srgbClr val="B1B5E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10" name="矩形: 圆角 9"/>
              <p:cNvSpPr/>
              <p:nvPr/>
            </p:nvSpPr>
            <p:spPr>
              <a:xfrm>
                <a:off x="4975" y="6074"/>
                <a:ext cx="2659" cy="2659"/>
              </a:xfrm>
              <a:prstGeom prst="roundRect">
                <a:avLst/>
              </a:prstGeom>
              <a:solidFill>
                <a:srgbClr val="ACC0E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12" name="椭圆 11"/>
              <p:cNvSpPr/>
              <p:nvPr/>
            </p:nvSpPr>
            <p:spPr>
              <a:xfrm>
                <a:off x="3470" y="4596"/>
                <a:ext cx="2743" cy="2743"/>
              </a:xfrm>
              <a:prstGeom prst="ellipse">
                <a:avLst/>
              </a:prstGeom>
              <a:solidFill>
                <a:srgbClr val="9D6BAB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13" name="文本框 12"/>
              <p:cNvSpPr txBox="1"/>
              <p:nvPr/>
            </p:nvSpPr>
            <p:spPr>
              <a:xfrm>
                <a:off x="2256" y="4849"/>
                <a:ext cx="1008" cy="7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1600" dirty="0">
                    <a:solidFill>
                      <a:schemeClr val="bg1"/>
                    </a:solidFill>
                    <a:cs typeface="+mn-ea"/>
                    <a:sym typeface="+mn-lt"/>
                  </a:rPr>
                  <a:t>01</a:t>
                </a:r>
              </a:p>
            </p:txBody>
          </p:sp>
          <p:sp>
            <p:nvSpPr>
              <p:cNvPr id="14" name="文本框 13"/>
              <p:cNvSpPr txBox="1"/>
              <p:nvPr/>
            </p:nvSpPr>
            <p:spPr>
              <a:xfrm>
                <a:off x="6465" y="4849"/>
                <a:ext cx="1008" cy="7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l"/>
                <a:r>
                  <a:rPr lang="en-US" altLang="zh-CN" sz="1600" dirty="0">
                    <a:solidFill>
                      <a:schemeClr val="bg1"/>
                    </a:solidFill>
                    <a:cs typeface="+mn-ea"/>
                    <a:sym typeface="+mn-lt"/>
                  </a:rPr>
                  <a:t>02</a:t>
                </a:r>
              </a:p>
            </p:txBody>
          </p:sp>
          <p:sp>
            <p:nvSpPr>
              <p:cNvPr id="15" name="文本框 14"/>
              <p:cNvSpPr txBox="1"/>
              <p:nvPr/>
            </p:nvSpPr>
            <p:spPr>
              <a:xfrm>
                <a:off x="2256" y="6166"/>
                <a:ext cx="1008" cy="7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l"/>
                <a:r>
                  <a:rPr lang="en-US" altLang="zh-CN" sz="1600" dirty="0">
                    <a:solidFill>
                      <a:schemeClr val="bg1"/>
                    </a:solidFill>
                    <a:cs typeface="+mn-ea"/>
                    <a:sym typeface="+mn-lt"/>
                  </a:rPr>
                  <a:t>04</a:t>
                </a:r>
              </a:p>
            </p:txBody>
          </p:sp>
          <p:sp>
            <p:nvSpPr>
              <p:cNvPr id="16" name="文本框 15"/>
              <p:cNvSpPr txBox="1"/>
              <p:nvPr/>
            </p:nvSpPr>
            <p:spPr>
              <a:xfrm>
                <a:off x="6465" y="6166"/>
                <a:ext cx="1008" cy="7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l"/>
                <a:r>
                  <a:rPr lang="en-US" altLang="zh-CN" sz="1600" dirty="0">
                    <a:solidFill>
                      <a:schemeClr val="bg1"/>
                    </a:solidFill>
                    <a:cs typeface="+mn-ea"/>
                    <a:sym typeface="+mn-lt"/>
                  </a:rPr>
                  <a:t>03</a:t>
                </a:r>
              </a:p>
            </p:txBody>
          </p:sp>
          <p:sp>
            <p:nvSpPr>
              <p:cNvPr id="17" name="文本框 16"/>
              <p:cNvSpPr txBox="1"/>
              <p:nvPr/>
            </p:nvSpPr>
            <p:spPr>
              <a:xfrm>
                <a:off x="2252" y="3634"/>
                <a:ext cx="1583" cy="12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>
                    <a:rot lat="0" lon="0" rev="0"/>
                  </a:lightRig>
                </a:scene3d>
                <a:sp3d contourW="12700"/>
              </a:bodyPr>
              <a:lstStyle/>
              <a:p>
                <a:r>
                  <a:rPr lang="en-US" altLang="zh-CN" sz="1600" dirty="0">
                    <a:solidFill>
                      <a:schemeClr val="bg1"/>
                    </a:solidFill>
                    <a:cs typeface="+mn-ea"/>
                    <a:sym typeface="+mn-lt"/>
                  </a:rPr>
                  <a:t>Add text</a:t>
                </a:r>
                <a:endParaRPr lang="zh-CN" altLang="en-US" sz="1600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8" name="文本框 17"/>
              <p:cNvSpPr txBox="1"/>
              <p:nvPr/>
            </p:nvSpPr>
            <p:spPr>
              <a:xfrm>
                <a:off x="5889" y="3634"/>
                <a:ext cx="1583" cy="12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>
                    <a:rot lat="0" lon="0" rev="0"/>
                  </a:lightRig>
                </a:scene3d>
                <a:sp3d contourW="12700"/>
              </a:bodyPr>
              <a:lstStyle/>
              <a:p>
                <a:pPr algn="r"/>
                <a:r>
                  <a:rPr lang="en-US" altLang="zh-CN" sz="1600" dirty="0">
                    <a:solidFill>
                      <a:schemeClr val="bg1"/>
                    </a:solidFill>
                    <a:cs typeface="+mn-ea"/>
                    <a:sym typeface="+mn-lt"/>
                  </a:rPr>
                  <a:t>Add text</a:t>
                </a:r>
                <a:endParaRPr lang="zh-CN" altLang="en-US" sz="1600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9" name="文本框 18"/>
              <p:cNvSpPr txBox="1"/>
              <p:nvPr/>
            </p:nvSpPr>
            <p:spPr>
              <a:xfrm>
                <a:off x="2252" y="7527"/>
                <a:ext cx="1583" cy="12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>
                    <a:rot lat="0" lon="0" rev="0"/>
                  </a:lightRig>
                </a:scene3d>
                <a:sp3d contourW="12700"/>
              </a:bodyPr>
              <a:lstStyle/>
              <a:p>
                <a:r>
                  <a:rPr lang="en-US" altLang="zh-CN" sz="1600" dirty="0">
                    <a:solidFill>
                      <a:schemeClr val="bg1"/>
                    </a:solidFill>
                    <a:cs typeface="+mn-ea"/>
                    <a:sym typeface="+mn-lt"/>
                  </a:rPr>
                  <a:t>Add text</a:t>
                </a:r>
                <a:endParaRPr lang="zh-CN" altLang="en-US" sz="1600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0" name="文本框 19"/>
              <p:cNvSpPr txBox="1"/>
              <p:nvPr/>
            </p:nvSpPr>
            <p:spPr>
              <a:xfrm>
                <a:off x="5889" y="7527"/>
                <a:ext cx="1583" cy="12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/>
                  <a:lightRig rig="threePt" dir="t">
                    <a:rot lat="0" lon="0" rev="0"/>
                  </a:lightRig>
                </a:scene3d>
                <a:sp3d contourW="12700"/>
              </a:bodyPr>
              <a:lstStyle/>
              <a:p>
                <a:pPr algn="r"/>
                <a:r>
                  <a:rPr lang="en-US" altLang="zh-CN" sz="1600" dirty="0">
                    <a:solidFill>
                      <a:schemeClr val="bg1"/>
                    </a:solidFill>
                    <a:cs typeface="+mn-ea"/>
                    <a:sym typeface="+mn-lt"/>
                  </a:rPr>
                  <a:t>Add text</a:t>
                </a:r>
                <a:endParaRPr lang="zh-CN" altLang="en-US" sz="1600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pic>
          <p:nvPicPr>
            <p:cNvPr id="3" name="图片 2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4366"/>
            <a:stretch>
              <a:fillRect/>
            </a:stretch>
          </p:blipFill>
          <p:spPr>
            <a:xfrm>
              <a:off x="9488" y="4011"/>
              <a:ext cx="1681" cy="1578"/>
            </a:xfrm>
            <a:prstGeom prst="rect">
              <a:avLst/>
            </a:prstGeom>
          </p:spPr>
        </p:pic>
      </p:grpSp>
      <p:grpSp>
        <p:nvGrpSpPr>
          <p:cNvPr id="5" name="组合 4"/>
          <p:cNvGrpSpPr/>
          <p:nvPr/>
        </p:nvGrpSpPr>
        <p:grpSpPr>
          <a:xfrm>
            <a:off x="520700" y="1809750"/>
            <a:ext cx="4386580" cy="892175"/>
            <a:chOff x="820" y="2850"/>
            <a:chExt cx="6908" cy="1405"/>
          </a:xfrm>
        </p:grpSpPr>
        <p:grpSp>
          <p:nvGrpSpPr>
            <p:cNvPr id="35" name="组合 34"/>
            <p:cNvGrpSpPr/>
            <p:nvPr/>
          </p:nvGrpSpPr>
          <p:grpSpPr>
            <a:xfrm>
              <a:off x="2429" y="2850"/>
              <a:ext cx="5299" cy="1377"/>
              <a:chOff x="6723970" y="2930779"/>
              <a:chExt cx="5000156" cy="874609"/>
            </a:xfrm>
          </p:grpSpPr>
          <p:sp>
            <p:nvSpPr>
              <p:cNvPr id="38" name="矩形 37"/>
              <p:cNvSpPr/>
              <p:nvPr/>
            </p:nvSpPr>
            <p:spPr>
              <a:xfrm>
                <a:off x="6723970" y="3285516"/>
                <a:ext cx="5000156" cy="519872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algn="just">
                  <a:lnSpc>
                    <a:spcPct val="120000"/>
                  </a:lnSpc>
                </a:pPr>
                <a:r>
                  <a:rPr lang="en-US" altLang="zh-CN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+mn-ea"/>
                    <a:sym typeface="+mn-lt"/>
                  </a:rPr>
                  <a:t>Click here to add text content, such as keywords, some brief introductions, etc.</a:t>
                </a:r>
                <a:endPara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9" name="矩形 38"/>
              <p:cNvSpPr/>
              <p:nvPr/>
            </p:nvSpPr>
            <p:spPr>
              <a:xfrm>
                <a:off x="6723970" y="2930779"/>
                <a:ext cx="2241974" cy="298728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algn="just">
                  <a:lnSpc>
                    <a:spcPct val="120000"/>
                  </a:lnSpc>
                </a:pPr>
                <a:r>
                  <a:rPr lang="en-US" altLang="zh-CN" sz="1200" b="1" dirty="0">
                    <a:solidFill>
                      <a:srgbClr val="9D6BAB"/>
                    </a:solidFill>
                    <a:cs typeface="+mn-ea"/>
                    <a:sym typeface="+mn-lt"/>
                  </a:rPr>
                  <a:t>Add title text</a:t>
                </a:r>
                <a:endParaRPr lang="zh-CN" altLang="en-US" sz="1200" b="1" dirty="0">
                  <a:solidFill>
                    <a:srgbClr val="9D6BAB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36" name="椭圆 35"/>
            <p:cNvSpPr/>
            <p:nvPr/>
          </p:nvSpPr>
          <p:spPr>
            <a:xfrm>
              <a:off x="820" y="3041"/>
              <a:ext cx="1214" cy="1214"/>
            </a:xfrm>
            <a:prstGeom prst="ellipse">
              <a:avLst/>
            </a:prstGeom>
            <a:solidFill>
              <a:srgbClr val="ACC0E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9" name="椭圆 36"/>
            <p:cNvSpPr/>
            <p:nvPr/>
          </p:nvSpPr>
          <p:spPr>
            <a:xfrm>
              <a:off x="1191" y="3286"/>
              <a:ext cx="472" cy="725"/>
            </a:xfrm>
            <a:custGeom>
              <a:avLst/>
              <a:gdLst>
                <a:gd name="connsiteX0" fmla="*/ 66675 w 215900"/>
                <a:gd name="connsiteY0" fmla="*/ 115887 h 331788"/>
                <a:gd name="connsiteX1" fmla="*/ 149225 w 215900"/>
                <a:gd name="connsiteY1" fmla="*/ 115887 h 331788"/>
                <a:gd name="connsiteX2" fmla="*/ 149225 w 215900"/>
                <a:gd name="connsiteY2" fmla="*/ 250859 h 331788"/>
                <a:gd name="connsiteX3" fmla="*/ 107950 w 215900"/>
                <a:gd name="connsiteY3" fmla="*/ 293687 h 331788"/>
                <a:gd name="connsiteX4" fmla="*/ 66675 w 215900"/>
                <a:gd name="connsiteY4" fmla="*/ 250859 h 331788"/>
                <a:gd name="connsiteX5" fmla="*/ 66675 w 215900"/>
                <a:gd name="connsiteY5" fmla="*/ 115887 h 331788"/>
                <a:gd name="connsiteX6" fmla="*/ 20637 w 215900"/>
                <a:gd name="connsiteY6" fmla="*/ 20637 h 331788"/>
                <a:gd name="connsiteX7" fmla="*/ 20637 w 215900"/>
                <a:gd name="connsiteY7" fmla="*/ 33606 h 331788"/>
                <a:gd name="connsiteX8" fmla="*/ 48003 w 215900"/>
                <a:gd name="connsiteY8" fmla="*/ 33606 h 331788"/>
                <a:gd name="connsiteX9" fmla="*/ 48003 w 215900"/>
                <a:gd name="connsiteY9" fmla="*/ 251491 h 331788"/>
                <a:gd name="connsiteX10" fmla="*/ 107950 w 215900"/>
                <a:gd name="connsiteY10" fmla="*/ 311150 h 331788"/>
                <a:gd name="connsiteX11" fmla="*/ 167896 w 215900"/>
                <a:gd name="connsiteY11" fmla="*/ 251491 h 331788"/>
                <a:gd name="connsiteX12" fmla="*/ 167896 w 215900"/>
                <a:gd name="connsiteY12" fmla="*/ 33606 h 331788"/>
                <a:gd name="connsiteX13" fmla="*/ 195262 w 215900"/>
                <a:gd name="connsiteY13" fmla="*/ 33606 h 331788"/>
                <a:gd name="connsiteX14" fmla="*/ 195262 w 215900"/>
                <a:gd name="connsiteY14" fmla="*/ 20637 h 331788"/>
                <a:gd name="connsiteX15" fmla="*/ 20637 w 215900"/>
                <a:gd name="connsiteY15" fmla="*/ 20637 h 331788"/>
                <a:gd name="connsiteX16" fmla="*/ 0 w 215900"/>
                <a:gd name="connsiteY16" fmla="*/ 0 h 331788"/>
                <a:gd name="connsiteX17" fmla="*/ 215900 w 215900"/>
                <a:gd name="connsiteY17" fmla="*/ 0 h 331788"/>
                <a:gd name="connsiteX18" fmla="*/ 215900 w 215900"/>
                <a:gd name="connsiteY18" fmla="*/ 54434 h 331788"/>
                <a:gd name="connsiteX19" fmla="*/ 188588 w 215900"/>
                <a:gd name="connsiteY19" fmla="*/ 54434 h 331788"/>
                <a:gd name="connsiteX20" fmla="*/ 188588 w 215900"/>
                <a:gd name="connsiteY20" fmla="*/ 251433 h 331788"/>
                <a:gd name="connsiteX21" fmla="*/ 107950 w 215900"/>
                <a:gd name="connsiteY21" fmla="*/ 331788 h 331788"/>
                <a:gd name="connsiteX22" fmla="*/ 27312 w 215900"/>
                <a:gd name="connsiteY22" fmla="*/ 251433 h 331788"/>
                <a:gd name="connsiteX23" fmla="*/ 27312 w 215900"/>
                <a:gd name="connsiteY23" fmla="*/ 54434 h 331788"/>
                <a:gd name="connsiteX24" fmla="*/ 0 w 215900"/>
                <a:gd name="connsiteY24" fmla="*/ 54434 h 331788"/>
                <a:gd name="connsiteX25" fmla="*/ 0 w 215900"/>
                <a:gd name="connsiteY25" fmla="*/ 0 h 331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215900" h="331788">
                  <a:moveTo>
                    <a:pt x="66675" y="115887"/>
                  </a:moveTo>
                  <a:cubicBezTo>
                    <a:pt x="66675" y="115887"/>
                    <a:pt x="66675" y="115887"/>
                    <a:pt x="149225" y="115887"/>
                  </a:cubicBezTo>
                  <a:cubicBezTo>
                    <a:pt x="149225" y="115887"/>
                    <a:pt x="149225" y="115887"/>
                    <a:pt x="149225" y="250859"/>
                  </a:cubicBezTo>
                  <a:cubicBezTo>
                    <a:pt x="149225" y="274220"/>
                    <a:pt x="131167" y="293687"/>
                    <a:pt x="107950" y="293687"/>
                  </a:cubicBezTo>
                  <a:cubicBezTo>
                    <a:pt x="84733" y="293687"/>
                    <a:pt x="66675" y="274220"/>
                    <a:pt x="66675" y="250859"/>
                  </a:cubicBezTo>
                  <a:cubicBezTo>
                    <a:pt x="66675" y="250859"/>
                    <a:pt x="66675" y="250859"/>
                    <a:pt x="66675" y="115887"/>
                  </a:cubicBezTo>
                  <a:close/>
                  <a:moveTo>
                    <a:pt x="20637" y="20637"/>
                  </a:moveTo>
                  <a:cubicBezTo>
                    <a:pt x="20637" y="20637"/>
                    <a:pt x="20637" y="20637"/>
                    <a:pt x="20637" y="33606"/>
                  </a:cubicBezTo>
                  <a:cubicBezTo>
                    <a:pt x="20637" y="33606"/>
                    <a:pt x="20637" y="33606"/>
                    <a:pt x="48003" y="33606"/>
                  </a:cubicBezTo>
                  <a:cubicBezTo>
                    <a:pt x="48003" y="33606"/>
                    <a:pt x="48003" y="33606"/>
                    <a:pt x="48003" y="251491"/>
                  </a:cubicBezTo>
                  <a:cubicBezTo>
                    <a:pt x="48003" y="283914"/>
                    <a:pt x="75370" y="311150"/>
                    <a:pt x="107950" y="311150"/>
                  </a:cubicBezTo>
                  <a:cubicBezTo>
                    <a:pt x="140529" y="311150"/>
                    <a:pt x="167896" y="283914"/>
                    <a:pt x="167896" y="251491"/>
                  </a:cubicBezTo>
                  <a:cubicBezTo>
                    <a:pt x="167896" y="251491"/>
                    <a:pt x="167896" y="251491"/>
                    <a:pt x="167896" y="33606"/>
                  </a:cubicBezTo>
                  <a:cubicBezTo>
                    <a:pt x="167896" y="33606"/>
                    <a:pt x="167896" y="33606"/>
                    <a:pt x="195262" y="33606"/>
                  </a:cubicBezTo>
                  <a:cubicBezTo>
                    <a:pt x="195262" y="33606"/>
                    <a:pt x="195262" y="33606"/>
                    <a:pt x="195262" y="20637"/>
                  </a:cubicBezTo>
                  <a:cubicBezTo>
                    <a:pt x="195262" y="20637"/>
                    <a:pt x="195262" y="20637"/>
                    <a:pt x="20637" y="20637"/>
                  </a:cubicBezTo>
                  <a:close/>
                  <a:moveTo>
                    <a:pt x="0" y="0"/>
                  </a:moveTo>
                  <a:lnTo>
                    <a:pt x="215900" y="0"/>
                  </a:lnTo>
                  <a:cubicBezTo>
                    <a:pt x="215900" y="0"/>
                    <a:pt x="215900" y="0"/>
                    <a:pt x="215900" y="54434"/>
                  </a:cubicBezTo>
                  <a:cubicBezTo>
                    <a:pt x="215900" y="54434"/>
                    <a:pt x="215900" y="54434"/>
                    <a:pt x="188588" y="54434"/>
                  </a:cubicBezTo>
                  <a:cubicBezTo>
                    <a:pt x="188588" y="54434"/>
                    <a:pt x="188588" y="54434"/>
                    <a:pt x="188588" y="251433"/>
                  </a:cubicBezTo>
                  <a:cubicBezTo>
                    <a:pt x="188588" y="295499"/>
                    <a:pt x="152171" y="331788"/>
                    <a:pt x="107950" y="331788"/>
                  </a:cubicBezTo>
                  <a:cubicBezTo>
                    <a:pt x="63729" y="331788"/>
                    <a:pt x="27312" y="295499"/>
                    <a:pt x="27312" y="251433"/>
                  </a:cubicBezTo>
                  <a:cubicBezTo>
                    <a:pt x="27312" y="251433"/>
                    <a:pt x="27312" y="251433"/>
                    <a:pt x="27312" y="54434"/>
                  </a:cubicBezTo>
                  <a:cubicBezTo>
                    <a:pt x="27312" y="54434"/>
                    <a:pt x="27312" y="54434"/>
                    <a:pt x="0" y="54434"/>
                  </a:cubicBezTo>
                  <a:cubicBezTo>
                    <a:pt x="0" y="54434"/>
                    <a:pt x="0" y="54434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520700" y="3034030"/>
            <a:ext cx="4326890" cy="892810"/>
            <a:chOff x="820" y="4778"/>
            <a:chExt cx="6814" cy="1406"/>
          </a:xfrm>
        </p:grpSpPr>
        <p:grpSp>
          <p:nvGrpSpPr>
            <p:cNvPr id="41" name="组合 40"/>
            <p:cNvGrpSpPr/>
            <p:nvPr/>
          </p:nvGrpSpPr>
          <p:grpSpPr>
            <a:xfrm>
              <a:off x="2429" y="4778"/>
              <a:ext cx="5205" cy="1377"/>
              <a:chOff x="6723970" y="2930779"/>
              <a:chExt cx="5000156" cy="874609"/>
            </a:xfrm>
          </p:grpSpPr>
          <p:sp>
            <p:nvSpPr>
              <p:cNvPr id="44" name="矩形 43"/>
              <p:cNvSpPr/>
              <p:nvPr/>
            </p:nvSpPr>
            <p:spPr>
              <a:xfrm>
                <a:off x="6723970" y="3285516"/>
                <a:ext cx="5000156" cy="519872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algn="just">
                  <a:lnSpc>
                    <a:spcPct val="120000"/>
                  </a:lnSpc>
                </a:pPr>
                <a:r>
                  <a:rPr lang="en-US" altLang="zh-CN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+mn-ea"/>
                    <a:sym typeface="+mn-lt"/>
                  </a:rPr>
                  <a:t>Click here to add text content, such as keywords, some brief introductions, etc.</a:t>
                </a:r>
                <a:endParaRPr lang="zh-CN" altLang="en-US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5" name="矩形 44"/>
              <p:cNvSpPr/>
              <p:nvPr/>
            </p:nvSpPr>
            <p:spPr>
              <a:xfrm>
                <a:off x="6723970" y="2930779"/>
                <a:ext cx="2241974" cy="298728"/>
              </a:xfrm>
              <a:prstGeom prst="rect">
                <a:avLst/>
              </a:prstGeom>
            </p:spPr>
            <p:txBody>
              <a:bodyPr wrap="square">
                <a:spAutoFit/>
                <a:scene3d>
                  <a:camera prst="orthographicFront"/>
                  <a:lightRig rig="threePt" dir="t"/>
                </a:scene3d>
                <a:sp3d contourW="12700"/>
              </a:bodyPr>
              <a:lstStyle/>
              <a:p>
                <a:pPr algn="just">
                  <a:lnSpc>
                    <a:spcPct val="120000"/>
                  </a:lnSpc>
                </a:pPr>
                <a:r>
                  <a:rPr lang="en-US" altLang="zh-CN" sz="1200" b="1" dirty="0">
                    <a:solidFill>
                      <a:srgbClr val="9D6BAB"/>
                    </a:solidFill>
                    <a:cs typeface="+mn-ea"/>
                    <a:sym typeface="+mn-lt"/>
                  </a:rPr>
                  <a:t>Add title text</a:t>
                </a:r>
                <a:endParaRPr lang="zh-CN" altLang="en-US" sz="1200" b="1" dirty="0">
                  <a:solidFill>
                    <a:srgbClr val="9D6BAB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42" name="椭圆 41"/>
            <p:cNvSpPr/>
            <p:nvPr/>
          </p:nvSpPr>
          <p:spPr>
            <a:xfrm>
              <a:off x="820" y="4970"/>
              <a:ext cx="1214" cy="1214"/>
            </a:xfrm>
            <a:prstGeom prst="ellipse">
              <a:avLst/>
            </a:prstGeom>
            <a:solidFill>
              <a:srgbClr val="B1B5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50" name="椭圆 42"/>
            <p:cNvSpPr/>
            <p:nvPr/>
          </p:nvSpPr>
          <p:spPr>
            <a:xfrm>
              <a:off x="1064" y="5302"/>
              <a:ext cx="725" cy="549"/>
            </a:xfrm>
            <a:custGeom>
              <a:avLst/>
              <a:gdLst>
                <a:gd name="connsiteX0" fmla="*/ 73819 w 331341"/>
                <a:gd name="connsiteY0" fmla="*/ 138113 h 250825"/>
                <a:gd name="connsiteX1" fmla="*/ 58737 w 331341"/>
                <a:gd name="connsiteY1" fmla="*/ 152401 h 250825"/>
                <a:gd name="connsiteX2" fmla="*/ 73819 w 331341"/>
                <a:gd name="connsiteY2" fmla="*/ 166689 h 250825"/>
                <a:gd name="connsiteX3" fmla="*/ 88901 w 331341"/>
                <a:gd name="connsiteY3" fmla="*/ 152401 h 250825"/>
                <a:gd name="connsiteX4" fmla="*/ 73819 w 331341"/>
                <a:gd name="connsiteY4" fmla="*/ 138113 h 250825"/>
                <a:gd name="connsiteX5" fmla="*/ 75406 w 331341"/>
                <a:gd name="connsiteY5" fmla="*/ 123825 h 250825"/>
                <a:gd name="connsiteX6" fmla="*/ 103928 w 331341"/>
                <a:gd name="connsiteY6" fmla="*/ 153238 h 250825"/>
                <a:gd name="connsiteX7" fmla="*/ 97446 w 331341"/>
                <a:gd name="connsiteY7" fmla="*/ 171141 h 250825"/>
                <a:gd name="connsiteX8" fmla="*/ 113003 w 331341"/>
                <a:gd name="connsiteY8" fmla="*/ 200554 h 250825"/>
                <a:gd name="connsiteX9" fmla="*/ 113003 w 331341"/>
                <a:gd name="connsiteY9" fmla="*/ 204391 h 250825"/>
                <a:gd name="connsiteX10" fmla="*/ 107818 w 331341"/>
                <a:gd name="connsiteY10" fmla="*/ 205670 h 250825"/>
                <a:gd name="connsiteX11" fmla="*/ 96149 w 331341"/>
                <a:gd name="connsiteY11" fmla="*/ 199275 h 250825"/>
                <a:gd name="connsiteX12" fmla="*/ 94853 w 331341"/>
                <a:gd name="connsiteY12" fmla="*/ 212064 h 250825"/>
                <a:gd name="connsiteX13" fmla="*/ 93557 w 331341"/>
                <a:gd name="connsiteY13" fmla="*/ 214621 h 250825"/>
                <a:gd name="connsiteX14" fmla="*/ 92260 w 331341"/>
                <a:gd name="connsiteY14" fmla="*/ 214621 h 250825"/>
                <a:gd name="connsiteX15" fmla="*/ 88371 w 331341"/>
                <a:gd name="connsiteY15" fmla="*/ 213342 h 250825"/>
                <a:gd name="connsiteX16" fmla="*/ 75406 w 331341"/>
                <a:gd name="connsiteY16" fmla="*/ 189045 h 250825"/>
                <a:gd name="connsiteX17" fmla="*/ 61145 w 331341"/>
                <a:gd name="connsiteY17" fmla="*/ 213342 h 250825"/>
                <a:gd name="connsiteX18" fmla="*/ 57255 w 331341"/>
                <a:gd name="connsiteY18" fmla="*/ 214621 h 250825"/>
                <a:gd name="connsiteX19" fmla="*/ 55959 w 331341"/>
                <a:gd name="connsiteY19" fmla="*/ 214621 h 250825"/>
                <a:gd name="connsiteX20" fmla="*/ 54663 w 331341"/>
                <a:gd name="connsiteY20" fmla="*/ 212064 h 250825"/>
                <a:gd name="connsiteX21" fmla="*/ 53366 w 331341"/>
                <a:gd name="connsiteY21" fmla="*/ 199275 h 250825"/>
                <a:gd name="connsiteX22" fmla="*/ 41698 w 331341"/>
                <a:gd name="connsiteY22" fmla="*/ 205670 h 250825"/>
                <a:gd name="connsiteX23" fmla="*/ 37808 w 331341"/>
                <a:gd name="connsiteY23" fmla="*/ 204391 h 250825"/>
                <a:gd name="connsiteX24" fmla="*/ 36512 w 331341"/>
                <a:gd name="connsiteY24" fmla="*/ 200554 h 250825"/>
                <a:gd name="connsiteX25" fmla="*/ 52070 w 331341"/>
                <a:gd name="connsiteY25" fmla="*/ 171141 h 250825"/>
                <a:gd name="connsiteX26" fmla="*/ 45587 w 331341"/>
                <a:gd name="connsiteY26" fmla="*/ 153238 h 250825"/>
                <a:gd name="connsiteX27" fmla="*/ 75406 w 331341"/>
                <a:gd name="connsiteY27" fmla="*/ 123825 h 250825"/>
                <a:gd name="connsiteX28" fmla="*/ 15512 w 331341"/>
                <a:gd name="connsiteY28" fmla="*/ 47625 h 250825"/>
                <a:gd name="connsiteX29" fmla="*/ 159000 w 331341"/>
                <a:gd name="connsiteY29" fmla="*/ 47625 h 250825"/>
                <a:gd name="connsiteX30" fmla="*/ 148658 w 331341"/>
                <a:gd name="connsiteY30" fmla="*/ 69628 h 250825"/>
                <a:gd name="connsiteX31" fmla="*/ 147366 w 331341"/>
                <a:gd name="connsiteY31" fmla="*/ 73510 h 250825"/>
                <a:gd name="connsiteX32" fmla="*/ 23268 w 331341"/>
                <a:gd name="connsiteY32" fmla="*/ 73510 h 250825"/>
                <a:gd name="connsiteX33" fmla="*/ 23268 w 331341"/>
                <a:gd name="connsiteY33" fmla="*/ 224940 h 250825"/>
                <a:gd name="connsiteX34" fmla="*/ 248195 w 331341"/>
                <a:gd name="connsiteY34" fmla="*/ 224940 h 250825"/>
                <a:gd name="connsiteX35" fmla="*/ 248195 w 331341"/>
                <a:gd name="connsiteY35" fmla="*/ 142107 h 250825"/>
                <a:gd name="connsiteX36" fmla="*/ 271463 w 331341"/>
                <a:gd name="connsiteY36" fmla="*/ 143401 h 250825"/>
                <a:gd name="connsiteX37" fmla="*/ 271463 w 331341"/>
                <a:gd name="connsiteY37" fmla="*/ 235294 h 250825"/>
                <a:gd name="connsiteX38" fmla="*/ 255951 w 331341"/>
                <a:gd name="connsiteY38" fmla="*/ 250825 h 250825"/>
                <a:gd name="connsiteX39" fmla="*/ 15512 w 331341"/>
                <a:gd name="connsiteY39" fmla="*/ 250825 h 250825"/>
                <a:gd name="connsiteX40" fmla="*/ 0 w 331341"/>
                <a:gd name="connsiteY40" fmla="*/ 235294 h 250825"/>
                <a:gd name="connsiteX41" fmla="*/ 0 w 331341"/>
                <a:gd name="connsiteY41" fmla="*/ 63156 h 250825"/>
                <a:gd name="connsiteX42" fmla="*/ 15512 w 331341"/>
                <a:gd name="connsiteY42" fmla="*/ 47625 h 250825"/>
                <a:gd name="connsiteX43" fmla="*/ 175923 w 331341"/>
                <a:gd name="connsiteY43" fmla="*/ 0 h 250825"/>
                <a:gd name="connsiteX44" fmla="*/ 260350 w 331341"/>
                <a:gd name="connsiteY44" fmla="*/ 5179 h 250825"/>
                <a:gd name="connsiteX45" fmla="*/ 269442 w 331341"/>
                <a:gd name="connsiteY45" fmla="*/ 9063 h 250825"/>
                <a:gd name="connsiteX46" fmla="*/ 329189 w 331341"/>
                <a:gd name="connsiteY46" fmla="*/ 67322 h 250825"/>
                <a:gd name="connsiteX47" fmla="*/ 330488 w 331341"/>
                <a:gd name="connsiteY47" fmla="*/ 77680 h 250825"/>
                <a:gd name="connsiteX48" fmla="*/ 323994 w 331341"/>
                <a:gd name="connsiteY48" fmla="*/ 84153 h 250825"/>
                <a:gd name="connsiteX49" fmla="*/ 318798 w 331341"/>
                <a:gd name="connsiteY49" fmla="*/ 84153 h 250825"/>
                <a:gd name="connsiteX50" fmla="*/ 318798 w 331341"/>
                <a:gd name="connsiteY50" fmla="*/ 110046 h 250825"/>
                <a:gd name="connsiteX51" fmla="*/ 320097 w 331341"/>
                <a:gd name="connsiteY51" fmla="*/ 110046 h 250825"/>
                <a:gd name="connsiteX52" fmla="*/ 322695 w 331341"/>
                <a:gd name="connsiteY52" fmla="*/ 111341 h 250825"/>
                <a:gd name="connsiteX53" fmla="*/ 322695 w 331341"/>
                <a:gd name="connsiteY53" fmla="*/ 117814 h 250825"/>
                <a:gd name="connsiteX54" fmla="*/ 323994 w 331341"/>
                <a:gd name="connsiteY54" fmla="*/ 126877 h 250825"/>
                <a:gd name="connsiteX55" fmla="*/ 323994 w 331341"/>
                <a:gd name="connsiteY55" fmla="*/ 128171 h 250825"/>
                <a:gd name="connsiteX56" fmla="*/ 322695 w 331341"/>
                <a:gd name="connsiteY56" fmla="*/ 128171 h 250825"/>
                <a:gd name="connsiteX57" fmla="*/ 309706 w 331341"/>
                <a:gd name="connsiteY57" fmla="*/ 128171 h 250825"/>
                <a:gd name="connsiteX58" fmla="*/ 308407 w 331341"/>
                <a:gd name="connsiteY58" fmla="*/ 128171 h 250825"/>
                <a:gd name="connsiteX59" fmla="*/ 307109 w 331341"/>
                <a:gd name="connsiteY59" fmla="*/ 126877 h 250825"/>
                <a:gd name="connsiteX60" fmla="*/ 309706 w 331341"/>
                <a:gd name="connsiteY60" fmla="*/ 111341 h 250825"/>
                <a:gd name="connsiteX61" fmla="*/ 311005 w 331341"/>
                <a:gd name="connsiteY61" fmla="*/ 110046 h 250825"/>
                <a:gd name="connsiteX62" fmla="*/ 312304 w 331341"/>
                <a:gd name="connsiteY62" fmla="*/ 110046 h 250825"/>
                <a:gd name="connsiteX63" fmla="*/ 312304 w 331341"/>
                <a:gd name="connsiteY63" fmla="*/ 85448 h 250825"/>
                <a:gd name="connsiteX64" fmla="*/ 303212 w 331341"/>
                <a:gd name="connsiteY64" fmla="*/ 85448 h 250825"/>
                <a:gd name="connsiteX65" fmla="*/ 285028 w 331341"/>
                <a:gd name="connsiteY65" fmla="*/ 128171 h 250825"/>
                <a:gd name="connsiteX66" fmla="*/ 274637 w 331341"/>
                <a:gd name="connsiteY66" fmla="*/ 133350 h 250825"/>
                <a:gd name="connsiteX67" fmla="*/ 214889 w 331341"/>
                <a:gd name="connsiteY67" fmla="*/ 120404 h 250825"/>
                <a:gd name="connsiteX68" fmla="*/ 164234 w 331341"/>
                <a:gd name="connsiteY68" fmla="*/ 85448 h 250825"/>
                <a:gd name="connsiteX69" fmla="*/ 161636 w 331341"/>
                <a:gd name="connsiteY69" fmla="*/ 73796 h 250825"/>
                <a:gd name="connsiteX70" fmla="*/ 177222 w 331341"/>
                <a:gd name="connsiteY70" fmla="*/ 38840 h 250825"/>
                <a:gd name="connsiteX71" fmla="*/ 179820 w 331341"/>
                <a:gd name="connsiteY71" fmla="*/ 32367 h 250825"/>
                <a:gd name="connsiteX72" fmla="*/ 168130 w 331341"/>
                <a:gd name="connsiteY72" fmla="*/ 16831 h 250825"/>
                <a:gd name="connsiteX73" fmla="*/ 166831 w 331341"/>
                <a:gd name="connsiteY73" fmla="*/ 6473 h 250825"/>
                <a:gd name="connsiteX74" fmla="*/ 175923 w 331341"/>
                <a:gd name="connsiteY74" fmla="*/ 0 h 2508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</a:cxnLst>
              <a:rect l="l" t="t" r="r" b="b"/>
              <a:pathLst>
                <a:path w="331341" h="250825">
                  <a:moveTo>
                    <a:pt x="73819" y="138113"/>
                  </a:moveTo>
                  <a:cubicBezTo>
                    <a:pt x="65489" y="138113"/>
                    <a:pt x="58737" y="144510"/>
                    <a:pt x="58737" y="152401"/>
                  </a:cubicBezTo>
                  <a:cubicBezTo>
                    <a:pt x="58737" y="160292"/>
                    <a:pt x="65489" y="166689"/>
                    <a:pt x="73819" y="166689"/>
                  </a:cubicBezTo>
                  <a:cubicBezTo>
                    <a:pt x="82149" y="166689"/>
                    <a:pt x="88901" y="160292"/>
                    <a:pt x="88901" y="152401"/>
                  </a:cubicBezTo>
                  <a:cubicBezTo>
                    <a:pt x="88901" y="144510"/>
                    <a:pt x="82149" y="138113"/>
                    <a:pt x="73819" y="138113"/>
                  </a:cubicBezTo>
                  <a:close/>
                  <a:moveTo>
                    <a:pt x="75406" y="123825"/>
                  </a:moveTo>
                  <a:cubicBezTo>
                    <a:pt x="90964" y="123825"/>
                    <a:pt x="103928" y="136613"/>
                    <a:pt x="103928" y="153238"/>
                  </a:cubicBezTo>
                  <a:cubicBezTo>
                    <a:pt x="103928" y="159632"/>
                    <a:pt x="101335" y="166026"/>
                    <a:pt x="97446" y="171141"/>
                  </a:cubicBezTo>
                  <a:cubicBezTo>
                    <a:pt x="97446" y="171141"/>
                    <a:pt x="97446" y="171141"/>
                    <a:pt x="113003" y="200554"/>
                  </a:cubicBezTo>
                  <a:cubicBezTo>
                    <a:pt x="114300" y="201833"/>
                    <a:pt x="114300" y="203112"/>
                    <a:pt x="113003" y="204391"/>
                  </a:cubicBezTo>
                  <a:cubicBezTo>
                    <a:pt x="111707" y="205670"/>
                    <a:pt x="109114" y="205670"/>
                    <a:pt x="107818" y="205670"/>
                  </a:cubicBezTo>
                  <a:cubicBezTo>
                    <a:pt x="107818" y="205670"/>
                    <a:pt x="107818" y="205670"/>
                    <a:pt x="96149" y="199275"/>
                  </a:cubicBezTo>
                  <a:cubicBezTo>
                    <a:pt x="96149" y="199275"/>
                    <a:pt x="96149" y="199275"/>
                    <a:pt x="94853" y="212064"/>
                  </a:cubicBezTo>
                  <a:cubicBezTo>
                    <a:pt x="94853" y="213342"/>
                    <a:pt x="94853" y="214621"/>
                    <a:pt x="93557" y="214621"/>
                  </a:cubicBezTo>
                  <a:cubicBezTo>
                    <a:pt x="93557" y="214621"/>
                    <a:pt x="92260" y="214621"/>
                    <a:pt x="92260" y="214621"/>
                  </a:cubicBezTo>
                  <a:cubicBezTo>
                    <a:pt x="90964" y="215900"/>
                    <a:pt x="89667" y="214621"/>
                    <a:pt x="88371" y="213342"/>
                  </a:cubicBezTo>
                  <a:cubicBezTo>
                    <a:pt x="88371" y="213342"/>
                    <a:pt x="88371" y="213342"/>
                    <a:pt x="75406" y="189045"/>
                  </a:cubicBezTo>
                  <a:cubicBezTo>
                    <a:pt x="75406" y="189045"/>
                    <a:pt x="75406" y="189045"/>
                    <a:pt x="61145" y="213342"/>
                  </a:cubicBezTo>
                  <a:cubicBezTo>
                    <a:pt x="61145" y="214621"/>
                    <a:pt x="58552" y="215900"/>
                    <a:pt x="57255" y="214621"/>
                  </a:cubicBezTo>
                  <a:cubicBezTo>
                    <a:pt x="57255" y="214621"/>
                    <a:pt x="57255" y="214621"/>
                    <a:pt x="55959" y="214621"/>
                  </a:cubicBezTo>
                  <a:cubicBezTo>
                    <a:pt x="55959" y="214621"/>
                    <a:pt x="54663" y="213342"/>
                    <a:pt x="54663" y="212064"/>
                  </a:cubicBezTo>
                  <a:cubicBezTo>
                    <a:pt x="54663" y="212064"/>
                    <a:pt x="54663" y="212064"/>
                    <a:pt x="53366" y="199275"/>
                  </a:cubicBezTo>
                  <a:cubicBezTo>
                    <a:pt x="53366" y="199275"/>
                    <a:pt x="53366" y="199275"/>
                    <a:pt x="41698" y="205670"/>
                  </a:cubicBezTo>
                  <a:cubicBezTo>
                    <a:pt x="40401" y="205670"/>
                    <a:pt x="39105" y="205670"/>
                    <a:pt x="37808" y="204391"/>
                  </a:cubicBezTo>
                  <a:cubicBezTo>
                    <a:pt x="36512" y="203112"/>
                    <a:pt x="36512" y="201833"/>
                    <a:pt x="36512" y="200554"/>
                  </a:cubicBezTo>
                  <a:cubicBezTo>
                    <a:pt x="36512" y="200554"/>
                    <a:pt x="36512" y="200554"/>
                    <a:pt x="52070" y="171141"/>
                  </a:cubicBezTo>
                  <a:cubicBezTo>
                    <a:pt x="48180" y="166026"/>
                    <a:pt x="45587" y="159632"/>
                    <a:pt x="45587" y="153238"/>
                  </a:cubicBezTo>
                  <a:cubicBezTo>
                    <a:pt x="45587" y="136613"/>
                    <a:pt x="58552" y="123825"/>
                    <a:pt x="75406" y="123825"/>
                  </a:cubicBezTo>
                  <a:close/>
                  <a:moveTo>
                    <a:pt x="15512" y="47625"/>
                  </a:moveTo>
                  <a:cubicBezTo>
                    <a:pt x="15512" y="47625"/>
                    <a:pt x="15512" y="47625"/>
                    <a:pt x="159000" y="47625"/>
                  </a:cubicBezTo>
                  <a:cubicBezTo>
                    <a:pt x="159000" y="47625"/>
                    <a:pt x="159000" y="47625"/>
                    <a:pt x="148658" y="69628"/>
                  </a:cubicBezTo>
                  <a:cubicBezTo>
                    <a:pt x="148658" y="70922"/>
                    <a:pt x="148658" y="72216"/>
                    <a:pt x="147366" y="73510"/>
                  </a:cubicBezTo>
                  <a:cubicBezTo>
                    <a:pt x="147366" y="73510"/>
                    <a:pt x="147366" y="73510"/>
                    <a:pt x="23268" y="73510"/>
                  </a:cubicBezTo>
                  <a:cubicBezTo>
                    <a:pt x="23268" y="73510"/>
                    <a:pt x="23268" y="73510"/>
                    <a:pt x="23268" y="224940"/>
                  </a:cubicBezTo>
                  <a:cubicBezTo>
                    <a:pt x="23268" y="224940"/>
                    <a:pt x="23268" y="224940"/>
                    <a:pt x="248195" y="224940"/>
                  </a:cubicBezTo>
                  <a:cubicBezTo>
                    <a:pt x="248195" y="224940"/>
                    <a:pt x="248195" y="224940"/>
                    <a:pt x="248195" y="142107"/>
                  </a:cubicBezTo>
                  <a:cubicBezTo>
                    <a:pt x="255951" y="143401"/>
                    <a:pt x="263707" y="143401"/>
                    <a:pt x="271463" y="143401"/>
                  </a:cubicBezTo>
                  <a:cubicBezTo>
                    <a:pt x="271463" y="143401"/>
                    <a:pt x="271463" y="143401"/>
                    <a:pt x="271463" y="235294"/>
                  </a:cubicBezTo>
                  <a:cubicBezTo>
                    <a:pt x="271463" y="243060"/>
                    <a:pt x="263707" y="250825"/>
                    <a:pt x="255951" y="250825"/>
                  </a:cubicBezTo>
                  <a:cubicBezTo>
                    <a:pt x="255951" y="250825"/>
                    <a:pt x="255951" y="250825"/>
                    <a:pt x="15512" y="250825"/>
                  </a:cubicBezTo>
                  <a:cubicBezTo>
                    <a:pt x="6463" y="250825"/>
                    <a:pt x="0" y="243060"/>
                    <a:pt x="0" y="235294"/>
                  </a:cubicBezTo>
                  <a:cubicBezTo>
                    <a:pt x="0" y="235294"/>
                    <a:pt x="0" y="235294"/>
                    <a:pt x="0" y="63156"/>
                  </a:cubicBezTo>
                  <a:cubicBezTo>
                    <a:pt x="0" y="54096"/>
                    <a:pt x="6463" y="47625"/>
                    <a:pt x="15512" y="47625"/>
                  </a:cubicBezTo>
                  <a:close/>
                  <a:moveTo>
                    <a:pt x="175923" y="0"/>
                  </a:moveTo>
                  <a:cubicBezTo>
                    <a:pt x="175923" y="0"/>
                    <a:pt x="175923" y="0"/>
                    <a:pt x="260350" y="5179"/>
                  </a:cubicBezTo>
                  <a:cubicBezTo>
                    <a:pt x="264246" y="3884"/>
                    <a:pt x="266844" y="5179"/>
                    <a:pt x="269442" y="9063"/>
                  </a:cubicBezTo>
                  <a:cubicBezTo>
                    <a:pt x="269442" y="9063"/>
                    <a:pt x="269442" y="9063"/>
                    <a:pt x="329189" y="67322"/>
                  </a:cubicBezTo>
                  <a:cubicBezTo>
                    <a:pt x="331787" y="69912"/>
                    <a:pt x="331787" y="75090"/>
                    <a:pt x="330488" y="77680"/>
                  </a:cubicBezTo>
                  <a:cubicBezTo>
                    <a:pt x="329189" y="81564"/>
                    <a:pt x="327890" y="82858"/>
                    <a:pt x="323994" y="84153"/>
                  </a:cubicBezTo>
                  <a:cubicBezTo>
                    <a:pt x="323994" y="84153"/>
                    <a:pt x="323994" y="84153"/>
                    <a:pt x="318798" y="84153"/>
                  </a:cubicBezTo>
                  <a:cubicBezTo>
                    <a:pt x="318798" y="84153"/>
                    <a:pt x="318798" y="84153"/>
                    <a:pt x="318798" y="110046"/>
                  </a:cubicBezTo>
                  <a:cubicBezTo>
                    <a:pt x="318798" y="110046"/>
                    <a:pt x="318798" y="110046"/>
                    <a:pt x="320097" y="110046"/>
                  </a:cubicBezTo>
                  <a:cubicBezTo>
                    <a:pt x="321396" y="110046"/>
                    <a:pt x="322695" y="111341"/>
                    <a:pt x="322695" y="111341"/>
                  </a:cubicBezTo>
                  <a:cubicBezTo>
                    <a:pt x="322695" y="111341"/>
                    <a:pt x="322695" y="111341"/>
                    <a:pt x="322695" y="117814"/>
                  </a:cubicBezTo>
                  <a:cubicBezTo>
                    <a:pt x="323994" y="120404"/>
                    <a:pt x="323994" y="122993"/>
                    <a:pt x="323994" y="126877"/>
                  </a:cubicBezTo>
                  <a:cubicBezTo>
                    <a:pt x="323994" y="126877"/>
                    <a:pt x="323994" y="126877"/>
                    <a:pt x="323994" y="128171"/>
                  </a:cubicBezTo>
                  <a:cubicBezTo>
                    <a:pt x="323994" y="128171"/>
                    <a:pt x="322695" y="128171"/>
                    <a:pt x="322695" y="128171"/>
                  </a:cubicBezTo>
                  <a:cubicBezTo>
                    <a:pt x="322695" y="128171"/>
                    <a:pt x="322695" y="128171"/>
                    <a:pt x="309706" y="128171"/>
                  </a:cubicBezTo>
                  <a:cubicBezTo>
                    <a:pt x="308407" y="128171"/>
                    <a:pt x="308407" y="128171"/>
                    <a:pt x="308407" y="128171"/>
                  </a:cubicBezTo>
                  <a:cubicBezTo>
                    <a:pt x="308407" y="126877"/>
                    <a:pt x="307109" y="126877"/>
                    <a:pt x="307109" y="126877"/>
                  </a:cubicBezTo>
                  <a:cubicBezTo>
                    <a:pt x="307109" y="126877"/>
                    <a:pt x="307109" y="126877"/>
                    <a:pt x="309706" y="111341"/>
                  </a:cubicBezTo>
                  <a:cubicBezTo>
                    <a:pt x="309706" y="111341"/>
                    <a:pt x="311005" y="110046"/>
                    <a:pt x="311005" y="110046"/>
                  </a:cubicBezTo>
                  <a:cubicBezTo>
                    <a:pt x="311005" y="110046"/>
                    <a:pt x="311005" y="110046"/>
                    <a:pt x="312304" y="110046"/>
                  </a:cubicBezTo>
                  <a:cubicBezTo>
                    <a:pt x="312304" y="110046"/>
                    <a:pt x="312304" y="110046"/>
                    <a:pt x="312304" y="85448"/>
                  </a:cubicBezTo>
                  <a:cubicBezTo>
                    <a:pt x="312304" y="85448"/>
                    <a:pt x="312304" y="85448"/>
                    <a:pt x="303212" y="85448"/>
                  </a:cubicBezTo>
                  <a:cubicBezTo>
                    <a:pt x="303212" y="85448"/>
                    <a:pt x="303212" y="85448"/>
                    <a:pt x="285028" y="128171"/>
                  </a:cubicBezTo>
                  <a:cubicBezTo>
                    <a:pt x="282430" y="132055"/>
                    <a:pt x="278534" y="133350"/>
                    <a:pt x="274637" y="133350"/>
                  </a:cubicBezTo>
                  <a:cubicBezTo>
                    <a:pt x="253855" y="133350"/>
                    <a:pt x="233073" y="128171"/>
                    <a:pt x="214889" y="120404"/>
                  </a:cubicBezTo>
                  <a:cubicBezTo>
                    <a:pt x="195406" y="112636"/>
                    <a:pt x="178521" y="99689"/>
                    <a:pt x="164234" y="85448"/>
                  </a:cubicBezTo>
                  <a:cubicBezTo>
                    <a:pt x="160337" y="81564"/>
                    <a:pt x="160337" y="77680"/>
                    <a:pt x="161636" y="73796"/>
                  </a:cubicBezTo>
                  <a:cubicBezTo>
                    <a:pt x="172027" y="51787"/>
                    <a:pt x="169429" y="58260"/>
                    <a:pt x="177222" y="38840"/>
                  </a:cubicBezTo>
                  <a:cubicBezTo>
                    <a:pt x="177222" y="38840"/>
                    <a:pt x="177222" y="38840"/>
                    <a:pt x="179820" y="32367"/>
                  </a:cubicBezTo>
                  <a:cubicBezTo>
                    <a:pt x="179820" y="32367"/>
                    <a:pt x="179820" y="32367"/>
                    <a:pt x="168130" y="16831"/>
                  </a:cubicBezTo>
                  <a:cubicBezTo>
                    <a:pt x="165532" y="14241"/>
                    <a:pt x="165532" y="10357"/>
                    <a:pt x="166831" y="6473"/>
                  </a:cubicBezTo>
                  <a:cubicBezTo>
                    <a:pt x="168130" y="2589"/>
                    <a:pt x="172027" y="0"/>
                    <a:pt x="175923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400" tmFilter="0,0; .5, 1; 1, 1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31"/>
          <p:cNvSpPr txBox="1"/>
          <p:nvPr/>
        </p:nvSpPr>
        <p:spPr>
          <a:xfrm>
            <a:off x="1967706" y="163176"/>
            <a:ext cx="5208588" cy="584775"/>
          </a:xfrm>
          <a:prstGeom prst="rect">
            <a:avLst/>
          </a:prstGeom>
          <a:noFill/>
          <a:ln w="9525">
            <a:noFill/>
          </a:ln>
        </p:spPr>
        <p:txBody>
          <a:bodyPr>
            <a:spAutoFit/>
          </a:bodyPr>
          <a:lstStyle>
            <a:defPPr>
              <a:defRPr lang="zh-CN"/>
            </a:defPPr>
            <a:lvl1pPr lvl="0">
              <a:defRPr sz="3600" b="1">
                <a:solidFill>
                  <a:schemeClr val="accent2"/>
                </a:solidFill>
                <a:cs typeface="+mn-ea"/>
              </a:defRPr>
            </a:lvl1pPr>
          </a:lstStyle>
          <a:p>
            <a:pPr algn="ctr"/>
            <a:r>
              <a:rPr lang="en-US" altLang="zh-CN" sz="3200" dirty="0">
                <a:sym typeface="+mn-lt"/>
              </a:rPr>
              <a:t>Teaching Difficulties</a:t>
            </a:r>
            <a:endParaRPr lang="zh-CN" altLang="en-US" sz="3200" dirty="0">
              <a:sym typeface="+mn-lt"/>
            </a:endParaRPr>
          </a:p>
        </p:txBody>
      </p:sp>
      <p:grpSp>
        <p:nvGrpSpPr>
          <p:cNvPr id="22" name="组合 21"/>
          <p:cNvGrpSpPr/>
          <p:nvPr/>
        </p:nvGrpSpPr>
        <p:grpSpPr>
          <a:xfrm>
            <a:off x="1280795" y="1424305"/>
            <a:ext cx="5932170" cy="2998470"/>
            <a:chOff x="2017" y="2243"/>
            <a:chExt cx="9342" cy="4722"/>
          </a:xfrm>
        </p:grpSpPr>
        <p:grpSp>
          <p:nvGrpSpPr>
            <p:cNvPr id="12" name="组合 11"/>
            <p:cNvGrpSpPr/>
            <p:nvPr/>
          </p:nvGrpSpPr>
          <p:grpSpPr>
            <a:xfrm>
              <a:off x="2724" y="2323"/>
              <a:ext cx="7360" cy="4641"/>
              <a:chOff x="3107" y="2333"/>
              <a:chExt cx="11942" cy="7531"/>
            </a:xfrm>
          </p:grpSpPr>
          <p:grpSp>
            <p:nvGrpSpPr>
              <p:cNvPr id="3" name="467ea1a4-08e3-4b07-ab7d-646249f5c792"/>
              <p:cNvGrpSpPr>
                <a:grpSpLocks noChangeAspect="1"/>
              </p:cNvGrpSpPr>
              <p:nvPr/>
            </p:nvGrpSpPr>
            <p:grpSpPr>
              <a:xfrm>
                <a:off x="4150" y="3703"/>
                <a:ext cx="10899" cy="3995"/>
                <a:chOff x="3381688" y="2526947"/>
                <a:chExt cx="5962705" cy="2185275"/>
              </a:xfrm>
            </p:grpSpPr>
            <p:cxnSp>
              <p:nvCxnSpPr>
                <p:cNvPr id="4" name="Straight Arrow Connector 2"/>
                <p:cNvCxnSpPr/>
                <p:nvPr/>
              </p:nvCxnSpPr>
              <p:spPr>
                <a:xfrm>
                  <a:off x="5027872" y="4202411"/>
                  <a:ext cx="0" cy="509811"/>
                </a:xfrm>
                <a:prstGeom prst="straightConnector1">
                  <a:avLst/>
                </a:prstGeom>
                <a:ln>
                  <a:solidFill>
                    <a:srgbClr val="B1B5E1"/>
                  </a:solidFill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" name="Straight Arrow Connector 3"/>
                <p:cNvCxnSpPr/>
                <p:nvPr/>
              </p:nvCxnSpPr>
              <p:spPr>
                <a:xfrm>
                  <a:off x="7653322" y="4187162"/>
                  <a:ext cx="0" cy="525060"/>
                </a:xfrm>
                <a:prstGeom prst="straightConnector1">
                  <a:avLst/>
                </a:prstGeom>
                <a:ln>
                  <a:solidFill>
                    <a:srgbClr val="ACC0E4"/>
                  </a:solidFill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" name="Freeform: Shape 4"/>
                <p:cNvSpPr/>
                <p:nvPr/>
              </p:nvSpPr>
              <p:spPr bwMode="auto">
                <a:xfrm>
                  <a:off x="4587172" y="3018120"/>
                  <a:ext cx="922766" cy="1399769"/>
                </a:xfrm>
                <a:custGeom>
                  <a:avLst/>
                  <a:gdLst>
                    <a:gd name="T0" fmla="*/ 1226 w 6380"/>
                    <a:gd name="T1" fmla="*/ 9676 h 9678"/>
                    <a:gd name="T2" fmla="*/ 1034 w 6380"/>
                    <a:gd name="T3" fmla="*/ 9652 h 9678"/>
                    <a:gd name="T4" fmla="*/ 846 w 6380"/>
                    <a:gd name="T5" fmla="*/ 9600 h 9678"/>
                    <a:gd name="T6" fmla="*/ 666 w 6380"/>
                    <a:gd name="T7" fmla="*/ 9518 h 9678"/>
                    <a:gd name="T8" fmla="*/ 500 w 6380"/>
                    <a:gd name="T9" fmla="*/ 9408 h 9678"/>
                    <a:gd name="T10" fmla="*/ 348 w 6380"/>
                    <a:gd name="T11" fmla="*/ 9268 h 9678"/>
                    <a:gd name="T12" fmla="*/ 262 w 6380"/>
                    <a:gd name="T13" fmla="*/ 9168 h 9678"/>
                    <a:gd name="T14" fmla="*/ 156 w 6380"/>
                    <a:gd name="T15" fmla="*/ 9004 h 9678"/>
                    <a:gd name="T16" fmla="*/ 78 w 6380"/>
                    <a:gd name="T17" fmla="*/ 8832 h 9678"/>
                    <a:gd name="T18" fmla="*/ 26 w 6380"/>
                    <a:gd name="T19" fmla="*/ 8652 h 9678"/>
                    <a:gd name="T20" fmla="*/ 2 w 6380"/>
                    <a:gd name="T21" fmla="*/ 8466 h 9678"/>
                    <a:gd name="T22" fmla="*/ 4 w 6380"/>
                    <a:gd name="T23" fmla="*/ 8282 h 9678"/>
                    <a:gd name="T24" fmla="*/ 32 w 6380"/>
                    <a:gd name="T25" fmla="*/ 8098 h 9678"/>
                    <a:gd name="T26" fmla="*/ 88 w 6380"/>
                    <a:gd name="T27" fmla="*/ 7918 h 9678"/>
                    <a:gd name="T28" fmla="*/ 168 w 6380"/>
                    <a:gd name="T29" fmla="*/ 7748 h 9678"/>
                    <a:gd name="T30" fmla="*/ 276 w 6380"/>
                    <a:gd name="T31" fmla="*/ 7588 h 9678"/>
                    <a:gd name="T32" fmla="*/ 410 w 6380"/>
                    <a:gd name="T33" fmla="*/ 7442 h 9678"/>
                    <a:gd name="T34" fmla="*/ 410 w 6380"/>
                    <a:gd name="T35" fmla="*/ 2234 h 9678"/>
                    <a:gd name="T36" fmla="*/ 276 w 6380"/>
                    <a:gd name="T37" fmla="*/ 2090 h 9678"/>
                    <a:gd name="T38" fmla="*/ 168 w 6380"/>
                    <a:gd name="T39" fmla="*/ 1930 h 9678"/>
                    <a:gd name="T40" fmla="*/ 88 w 6380"/>
                    <a:gd name="T41" fmla="*/ 1760 h 9678"/>
                    <a:gd name="T42" fmla="*/ 32 w 6380"/>
                    <a:gd name="T43" fmla="*/ 1580 h 9678"/>
                    <a:gd name="T44" fmla="*/ 4 w 6380"/>
                    <a:gd name="T45" fmla="*/ 1396 h 9678"/>
                    <a:gd name="T46" fmla="*/ 2 w 6380"/>
                    <a:gd name="T47" fmla="*/ 1210 h 9678"/>
                    <a:gd name="T48" fmla="*/ 26 w 6380"/>
                    <a:gd name="T49" fmla="*/ 1026 h 9678"/>
                    <a:gd name="T50" fmla="*/ 78 w 6380"/>
                    <a:gd name="T51" fmla="*/ 846 h 9678"/>
                    <a:gd name="T52" fmla="*/ 156 w 6380"/>
                    <a:gd name="T53" fmla="*/ 672 h 9678"/>
                    <a:gd name="T54" fmla="*/ 262 w 6380"/>
                    <a:gd name="T55" fmla="*/ 510 h 9678"/>
                    <a:gd name="T56" fmla="*/ 348 w 6380"/>
                    <a:gd name="T57" fmla="*/ 410 h 9678"/>
                    <a:gd name="T58" fmla="*/ 492 w 6380"/>
                    <a:gd name="T59" fmla="*/ 276 h 9678"/>
                    <a:gd name="T60" fmla="*/ 652 w 6380"/>
                    <a:gd name="T61" fmla="*/ 168 h 9678"/>
                    <a:gd name="T62" fmla="*/ 822 w 6380"/>
                    <a:gd name="T63" fmla="*/ 86 h 9678"/>
                    <a:gd name="T64" fmla="*/ 1002 w 6380"/>
                    <a:gd name="T65" fmla="*/ 32 h 9678"/>
                    <a:gd name="T66" fmla="*/ 1186 w 6380"/>
                    <a:gd name="T67" fmla="*/ 4 h 9678"/>
                    <a:gd name="T68" fmla="*/ 1372 w 6380"/>
                    <a:gd name="T69" fmla="*/ 2 h 9678"/>
                    <a:gd name="T70" fmla="*/ 1556 w 6380"/>
                    <a:gd name="T71" fmla="*/ 26 h 9678"/>
                    <a:gd name="T72" fmla="*/ 1736 w 6380"/>
                    <a:gd name="T73" fmla="*/ 78 h 9678"/>
                    <a:gd name="T74" fmla="*/ 1910 w 6380"/>
                    <a:gd name="T75" fmla="*/ 156 h 9678"/>
                    <a:gd name="T76" fmla="*/ 2072 w 6380"/>
                    <a:gd name="T77" fmla="*/ 262 h 9678"/>
                    <a:gd name="T78" fmla="*/ 5970 w 6380"/>
                    <a:gd name="T79" fmla="*/ 3896 h 9678"/>
                    <a:gd name="T80" fmla="*/ 6062 w 6380"/>
                    <a:gd name="T81" fmla="*/ 3992 h 9678"/>
                    <a:gd name="T82" fmla="*/ 6180 w 6380"/>
                    <a:gd name="T83" fmla="*/ 4150 h 9678"/>
                    <a:gd name="T84" fmla="*/ 6274 w 6380"/>
                    <a:gd name="T85" fmla="*/ 4324 h 9678"/>
                    <a:gd name="T86" fmla="*/ 6338 w 6380"/>
                    <a:gd name="T87" fmla="*/ 4510 h 9678"/>
                    <a:gd name="T88" fmla="*/ 6374 w 6380"/>
                    <a:gd name="T89" fmla="*/ 4706 h 9678"/>
                    <a:gd name="T90" fmla="*/ 6380 w 6380"/>
                    <a:gd name="T91" fmla="*/ 4838 h 9678"/>
                    <a:gd name="T92" fmla="*/ 6364 w 6380"/>
                    <a:gd name="T93" fmla="*/ 5038 h 9678"/>
                    <a:gd name="T94" fmla="*/ 6320 w 6380"/>
                    <a:gd name="T95" fmla="*/ 5230 h 9678"/>
                    <a:gd name="T96" fmla="*/ 6246 w 6380"/>
                    <a:gd name="T97" fmla="*/ 5412 h 9678"/>
                    <a:gd name="T98" fmla="*/ 6144 w 6380"/>
                    <a:gd name="T99" fmla="*/ 5582 h 9678"/>
                    <a:gd name="T100" fmla="*/ 6018 w 6380"/>
                    <a:gd name="T101" fmla="*/ 5736 h 9678"/>
                    <a:gd name="T102" fmla="*/ 2174 w 6380"/>
                    <a:gd name="T103" fmla="*/ 9330 h 9678"/>
                    <a:gd name="T104" fmla="*/ 2026 w 6380"/>
                    <a:gd name="T105" fmla="*/ 9448 h 9678"/>
                    <a:gd name="T106" fmla="*/ 1868 w 6380"/>
                    <a:gd name="T107" fmla="*/ 9542 h 9678"/>
                    <a:gd name="T108" fmla="*/ 1700 w 6380"/>
                    <a:gd name="T109" fmla="*/ 9612 h 9678"/>
                    <a:gd name="T110" fmla="*/ 1528 w 6380"/>
                    <a:gd name="T111" fmla="*/ 9656 h 9678"/>
                    <a:gd name="T112" fmla="*/ 1350 w 6380"/>
                    <a:gd name="T113" fmla="*/ 9676 h 96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380" h="9678">
                      <a:moveTo>
                        <a:pt x="1292" y="9678"/>
                      </a:moveTo>
                      <a:lnTo>
                        <a:pt x="1292" y="9678"/>
                      </a:lnTo>
                      <a:lnTo>
                        <a:pt x="1226" y="9676"/>
                      </a:lnTo>
                      <a:lnTo>
                        <a:pt x="1162" y="9672"/>
                      </a:lnTo>
                      <a:lnTo>
                        <a:pt x="1098" y="9664"/>
                      </a:lnTo>
                      <a:lnTo>
                        <a:pt x="1034" y="9652"/>
                      </a:lnTo>
                      <a:lnTo>
                        <a:pt x="970" y="9638"/>
                      </a:lnTo>
                      <a:lnTo>
                        <a:pt x="908" y="9620"/>
                      </a:lnTo>
                      <a:lnTo>
                        <a:pt x="846" y="9600"/>
                      </a:lnTo>
                      <a:lnTo>
                        <a:pt x="786" y="9576"/>
                      </a:lnTo>
                      <a:lnTo>
                        <a:pt x="726" y="9548"/>
                      </a:lnTo>
                      <a:lnTo>
                        <a:pt x="666" y="9518"/>
                      </a:lnTo>
                      <a:lnTo>
                        <a:pt x="610" y="9484"/>
                      </a:lnTo>
                      <a:lnTo>
                        <a:pt x="554" y="9448"/>
                      </a:lnTo>
                      <a:lnTo>
                        <a:pt x="500" y="9408"/>
                      </a:lnTo>
                      <a:lnTo>
                        <a:pt x="446" y="9364"/>
                      </a:lnTo>
                      <a:lnTo>
                        <a:pt x="396" y="9318"/>
                      </a:lnTo>
                      <a:lnTo>
                        <a:pt x="348" y="9268"/>
                      </a:lnTo>
                      <a:lnTo>
                        <a:pt x="348" y="9268"/>
                      </a:lnTo>
                      <a:lnTo>
                        <a:pt x="304" y="9218"/>
                      </a:lnTo>
                      <a:lnTo>
                        <a:pt x="262" y="9168"/>
                      </a:lnTo>
                      <a:lnTo>
                        <a:pt x="224" y="9114"/>
                      </a:lnTo>
                      <a:lnTo>
                        <a:pt x="188" y="9060"/>
                      </a:lnTo>
                      <a:lnTo>
                        <a:pt x="156" y="9004"/>
                      </a:lnTo>
                      <a:lnTo>
                        <a:pt x="128" y="8948"/>
                      </a:lnTo>
                      <a:lnTo>
                        <a:pt x="102" y="8890"/>
                      </a:lnTo>
                      <a:lnTo>
                        <a:pt x="78" y="8832"/>
                      </a:lnTo>
                      <a:lnTo>
                        <a:pt x="58" y="8772"/>
                      </a:lnTo>
                      <a:lnTo>
                        <a:pt x="42" y="8712"/>
                      </a:lnTo>
                      <a:lnTo>
                        <a:pt x="26" y="8652"/>
                      </a:lnTo>
                      <a:lnTo>
                        <a:pt x="16" y="8590"/>
                      </a:lnTo>
                      <a:lnTo>
                        <a:pt x="8" y="8528"/>
                      </a:lnTo>
                      <a:lnTo>
                        <a:pt x="2" y="8466"/>
                      </a:lnTo>
                      <a:lnTo>
                        <a:pt x="0" y="8404"/>
                      </a:lnTo>
                      <a:lnTo>
                        <a:pt x="0" y="8342"/>
                      </a:lnTo>
                      <a:lnTo>
                        <a:pt x="4" y="8282"/>
                      </a:lnTo>
                      <a:lnTo>
                        <a:pt x="10" y="8220"/>
                      </a:lnTo>
                      <a:lnTo>
                        <a:pt x="20" y="8158"/>
                      </a:lnTo>
                      <a:lnTo>
                        <a:pt x="32" y="8098"/>
                      </a:lnTo>
                      <a:lnTo>
                        <a:pt x="48" y="8036"/>
                      </a:lnTo>
                      <a:lnTo>
                        <a:pt x="66" y="7978"/>
                      </a:lnTo>
                      <a:lnTo>
                        <a:pt x="88" y="7918"/>
                      </a:lnTo>
                      <a:lnTo>
                        <a:pt x="112" y="7860"/>
                      </a:lnTo>
                      <a:lnTo>
                        <a:pt x="138" y="7804"/>
                      </a:lnTo>
                      <a:lnTo>
                        <a:pt x="168" y="7748"/>
                      </a:lnTo>
                      <a:lnTo>
                        <a:pt x="202" y="7694"/>
                      </a:lnTo>
                      <a:lnTo>
                        <a:pt x="238" y="7640"/>
                      </a:lnTo>
                      <a:lnTo>
                        <a:pt x="276" y="7588"/>
                      </a:lnTo>
                      <a:lnTo>
                        <a:pt x="318" y="7538"/>
                      </a:lnTo>
                      <a:lnTo>
                        <a:pt x="362" y="7490"/>
                      </a:lnTo>
                      <a:lnTo>
                        <a:pt x="410" y="7442"/>
                      </a:lnTo>
                      <a:lnTo>
                        <a:pt x="3196" y="4838"/>
                      </a:lnTo>
                      <a:lnTo>
                        <a:pt x="410" y="2234"/>
                      </a:lnTo>
                      <a:lnTo>
                        <a:pt x="410" y="2234"/>
                      </a:lnTo>
                      <a:lnTo>
                        <a:pt x="362" y="2188"/>
                      </a:lnTo>
                      <a:lnTo>
                        <a:pt x="318" y="2140"/>
                      </a:lnTo>
                      <a:lnTo>
                        <a:pt x="276" y="2090"/>
                      </a:lnTo>
                      <a:lnTo>
                        <a:pt x="238" y="2038"/>
                      </a:lnTo>
                      <a:lnTo>
                        <a:pt x="202" y="1984"/>
                      </a:lnTo>
                      <a:lnTo>
                        <a:pt x="168" y="1930"/>
                      </a:lnTo>
                      <a:lnTo>
                        <a:pt x="138" y="1874"/>
                      </a:lnTo>
                      <a:lnTo>
                        <a:pt x="112" y="1818"/>
                      </a:lnTo>
                      <a:lnTo>
                        <a:pt x="88" y="1760"/>
                      </a:lnTo>
                      <a:lnTo>
                        <a:pt x="66" y="1700"/>
                      </a:lnTo>
                      <a:lnTo>
                        <a:pt x="48" y="1640"/>
                      </a:lnTo>
                      <a:lnTo>
                        <a:pt x="32" y="1580"/>
                      </a:lnTo>
                      <a:lnTo>
                        <a:pt x="20" y="1520"/>
                      </a:lnTo>
                      <a:lnTo>
                        <a:pt x="10" y="1458"/>
                      </a:lnTo>
                      <a:lnTo>
                        <a:pt x="4" y="1396"/>
                      </a:lnTo>
                      <a:lnTo>
                        <a:pt x="0" y="1334"/>
                      </a:lnTo>
                      <a:lnTo>
                        <a:pt x="0" y="1272"/>
                      </a:lnTo>
                      <a:lnTo>
                        <a:pt x="2" y="1210"/>
                      </a:lnTo>
                      <a:lnTo>
                        <a:pt x="8" y="1148"/>
                      </a:lnTo>
                      <a:lnTo>
                        <a:pt x="16" y="1088"/>
                      </a:lnTo>
                      <a:lnTo>
                        <a:pt x="26" y="1026"/>
                      </a:lnTo>
                      <a:lnTo>
                        <a:pt x="42" y="966"/>
                      </a:lnTo>
                      <a:lnTo>
                        <a:pt x="58" y="906"/>
                      </a:lnTo>
                      <a:lnTo>
                        <a:pt x="78" y="846"/>
                      </a:lnTo>
                      <a:lnTo>
                        <a:pt x="102" y="788"/>
                      </a:lnTo>
                      <a:lnTo>
                        <a:pt x="128" y="730"/>
                      </a:lnTo>
                      <a:lnTo>
                        <a:pt x="156" y="672"/>
                      </a:lnTo>
                      <a:lnTo>
                        <a:pt x="188" y="618"/>
                      </a:lnTo>
                      <a:lnTo>
                        <a:pt x="224" y="562"/>
                      </a:lnTo>
                      <a:lnTo>
                        <a:pt x="262" y="510"/>
                      </a:lnTo>
                      <a:lnTo>
                        <a:pt x="304" y="458"/>
                      </a:lnTo>
                      <a:lnTo>
                        <a:pt x="348" y="410"/>
                      </a:lnTo>
                      <a:lnTo>
                        <a:pt x="348" y="410"/>
                      </a:lnTo>
                      <a:lnTo>
                        <a:pt x="394" y="362"/>
                      </a:lnTo>
                      <a:lnTo>
                        <a:pt x="442" y="318"/>
                      </a:lnTo>
                      <a:lnTo>
                        <a:pt x="492" y="276"/>
                      </a:lnTo>
                      <a:lnTo>
                        <a:pt x="544" y="236"/>
                      </a:lnTo>
                      <a:lnTo>
                        <a:pt x="598" y="200"/>
                      </a:lnTo>
                      <a:lnTo>
                        <a:pt x="652" y="168"/>
                      </a:lnTo>
                      <a:lnTo>
                        <a:pt x="708" y="138"/>
                      </a:lnTo>
                      <a:lnTo>
                        <a:pt x="764" y="112"/>
                      </a:lnTo>
                      <a:lnTo>
                        <a:pt x="822" y="86"/>
                      </a:lnTo>
                      <a:lnTo>
                        <a:pt x="882" y="66"/>
                      </a:lnTo>
                      <a:lnTo>
                        <a:pt x="942" y="48"/>
                      </a:lnTo>
                      <a:lnTo>
                        <a:pt x="1002" y="32"/>
                      </a:lnTo>
                      <a:lnTo>
                        <a:pt x="1062" y="20"/>
                      </a:lnTo>
                      <a:lnTo>
                        <a:pt x="1124" y="10"/>
                      </a:lnTo>
                      <a:lnTo>
                        <a:pt x="1186" y="4"/>
                      </a:lnTo>
                      <a:lnTo>
                        <a:pt x="1248" y="0"/>
                      </a:lnTo>
                      <a:lnTo>
                        <a:pt x="1310" y="0"/>
                      </a:lnTo>
                      <a:lnTo>
                        <a:pt x="1372" y="2"/>
                      </a:lnTo>
                      <a:lnTo>
                        <a:pt x="1434" y="8"/>
                      </a:lnTo>
                      <a:lnTo>
                        <a:pt x="1494" y="16"/>
                      </a:lnTo>
                      <a:lnTo>
                        <a:pt x="1556" y="26"/>
                      </a:lnTo>
                      <a:lnTo>
                        <a:pt x="1616" y="40"/>
                      </a:lnTo>
                      <a:lnTo>
                        <a:pt x="1676" y="58"/>
                      </a:lnTo>
                      <a:lnTo>
                        <a:pt x="1736" y="78"/>
                      </a:lnTo>
                      <a:lnTo>
                        <a:pt x="1796" y="102"/>
                      </a:lnTo>
                      <a:lnTo>
                        <a:pt x="1852" y="128"/>
                      </a:lnTo>
                      <a:lnTo>
                        <a:pt x="1910" y="156"/>
                      </a:lnTo>
                      <a:lnTo>
                        <a:pt x="1964" y="188"/>
                      </a:lnTo>
                      <a:lnTo>
                        <a:pt x="2020" y="224"/>
                      </a:lnTo>
                      <a:lnTo>
                        <a:pt x="2072" y="262"/>
                      </a:lnTo>
                      <a:lnTo>
                        <a:pt x="2124" y="302"/>
                      </a:lnTo>
                      <a:lnTo>
                        <a:pt x="2174" y="348"/>
                      </a:lnTo>
                      <a:lnTo>
                        <a:pt x="5970" y="3896"/>
                      </a:lnTo>
                      <a:lnTo>
                        <a:pt x="5970" y="3896"/>
                      </a:lnTo>
                      <a:lnTo>
                        <a:pt x="6018" y="3942"/>
                      </a:lnTo>
                      <a:lnTo>
                        <a:pt x="6062" y="3992"/>
                      </a:lnTo>
                      <a:lnTo>
                        <a:pt x="6106" y="4042"/>
                      </a:lnTo>
                      <a:lnTo>
                        <a:pt x="6144" y="4096"/>
                      </a:lnTo>
                      <a:lnTo>
                        <a:pt x="6180" y="4150"/>
                      </a:lnTo>
                      <a:lnTo>
                        <a:pt x="6214" y="4206"/>
                      </a:lnTo>
                      <a:lnTo>
                        <a:pt x="6246" y="4264"/>
                      </a:lnTo>
                      <a:lnTo>
                        <a:pt x="6274" y="4324"/>
                      </a:lnTo>
                      <a:lnTo>
                        <a:pt x="6298" y="4386"/>
                      </a:lnTo>
                      <a:lnTo>
                        <a:pt x="6320" y="4448"/>
                      </a:lnTo>
                      <a:lnTo>
                        <a:pt x="6338" y="4510"/>
                      </a:lnTo>
                      <a:lnTo>
                        <a:pt x="6352" y="4574"/>
                      </a:lnTo>
                      <a:lnTo>
                        <a:pt x="6364" y="4640"/>
                      </a:lnTo>
                      <a:lnTo>
                        <a:pt x="6374" y="4706"/>
                      </a:lnTo>
                      <a:lnTo>
                        <a:pt x="6378" y="4772"/>
                      </a:lnTo>
                      <a:lnTo>
                        <a:pt x="6380" y="4838"/>
                      </a:lnTo>
                      <a:lnTo>
                        <a:pt x="6380" y="4838"/>
                      </a:lnTo>
                      <a:lnTo>
                        <a:pt x="6378" y="4906"/>
                      </a:lnTo>
                      <a:lnTo>
                        <a:pt x="6374" y="4972"/>
                      </a:lnTo>
                      <a:lnTo>
                        <a:pt x="6364" y="5038"/>
                      </a:lnTo>
                      <a:lnTo>
                        <a:pt x="6352" y="5102"/>
                      </a:lnTo>
                      <a:lnTo>
                        <a:pt x="6338" y="5166"/>
                      </a:lnTo>
                      <a:lnTo>
                        <a:pt x="6320" y="5230"/>
                      </a:lnTo>
                      <a:lnTo>
                        <a:pt x="6298" y="5292"/>
                      </a:lnTo>
                      <a:lnTo>
                        <a:pt x="6274" y="5354"/>
                      </a:lnTo>
                      <a:lnTo>
                        <a:pt x="6246" y="5412"/>
                      </a:lnTo>
                      <a:lnTo>
                        <a:pt x="6214" y="5470"/>
                      </a:lnTo>
                      <a:lnTo>
                        <a:pt x="6180" y="5528"/>
                      </a:lnTo>
                      <a:lnTo>
                        <a:pt x="6144" y="5582"/>
                      </a:lnTo>
                      <a:lnTo>
                        <a:pt x="6106" y="5636"/>
                      </a:lnTo>
                      <a:lnTo>
                        <a:pt x="6062" y="5686"/>
                      </a:lnTo>
                      <a:lnTo>
                        <a:pt x="6018" y="5736"/>
                      </a:lnTo>
                      <a:lnTo>
                        <a:pt x="5970" y="5782"/>
                      </a:lnTo>
                      <a:lnTo>
                        <a:pt x="2174" y="9330"/>
                      </a:lnTo>
                      <a:lnTo>
                        <a:pt x="2174" y="9330"/>
                      </a:lnTo>
                      <a:lnTo>
                        <a:pt x="2126" y="9372"/>
                      </a:lnTo>
                      <a:lnTo>
                        <a:pt x="2076" y="9412"/>
                      </a:lnTo>
                      <a:lnTo>
                        <a:pt x="2026" y="9448"/>
                      </a:lnTo>
                      <a:lnTo>
                        <a:pt x="1974" y="9482"/>
                      </a:lnTo>
                      <a:lnTo>
                        <a:pt x="1922" y="9514"/>
                      </a:lnTo>
                      <a:lnTo>
                        <a:pt x="1868" y="9542"/>
                      </a:lnTo>
                      <a:lnTo>
                        <a:pt x="1814" y="9568"/>
                      </a:lnTo>
                      <a:lnTo>
                        <a:pt x="1758" y="9592"/>
                      </a:lnTo>
                      <a:lnTo>
                        <a:pt x="1700" y="9612"/>
                      </a:lnTo>
                      <a:lnTo>
                        <a:pt x="1644" y="9630"/>
                      </a:lnTo>
                      <a:lnTo>
                        <a:pt x="1586" y="9644"/>
                      </a:lnTo>
                      <a:lnTo>
                        <a:pt x="1528" y="9656"/>
                      </a:lnTo>
                      <a:lnTo>
                        <a:pt x="1468" y="9666"/>
                      </a:lnTo>
                      <a:lnTo>
                        <a:pt x="1410" y="9672"/>
                      </a:lnTo>
                      <a:lnTo>
                        <a:pt x="1350" y="9676"/>
                      </a:lnTo>
                      <a:lnTo>
                        <a:pt x="1292" y="9678"/>
                      </a:lnTo>
                      <a:lnTo>
                        <a:pt x="1292" y="9678"/>
                      </a:lnTo>
                      <a:close/>
                    </a:path>
                  </a:pathLst>
                </a:custGeom>
                <a:solidFill>
                  <a:srgbClr val="BFC3E7"/>
                </a:solidFill>
                <a:ln w="15875">
                  <a:noFill/>
                  <a:miter lim="800000"/>
                </a:ln>
              </p:spPr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2" name="Freeform: Shape 5"/>
                <p:cNvSpPr/>
                <p:nvPr/>
              </p:nvSpPr>
              <p:spPr bwMode="auto">
                <a:xfrm>
                  <a:off x="7192444" y="3018120"/>
                  <a:ext cx="922766" cy="1399769"/>
                </a:xfrm>
                <a:custGeom>
                  <a:avLst/>
                  <a:gdLst>
                    <a:gd name="T0" fmla="*/ 1226 w 6380"/>
                    <a:gd name="T1" fmla="*/ 9676 h 9678"/>
                    <a:gd name="T2" fmla="*/ 1034 w 6380"/>
                    <a:gd name="T3" fmla="*/ 9652 h 9678"/>
                    <a:gd name="T4" fmla="*/ 846 w 6380"/>
                    <a:gd name="T5" fmla="*/ 9600 h 9678"/>
                    <a:gd name="T6" fmla="*/ 666 w 6380"/>
                    <a:gd name="T7" fmla="*/ 9518 h 9678"/>
                    <a:gd name="T8" fmla="*/ 500 w 6380"/>
                    <a:gd name="T9" fmla="*/ 9408 h 9678"/>
                    <a:gd name="T10" fmla="*/ 348 w 6380"/>
                    <a:gd name="T11" fmla="*/ 9268 h 9678"/>
                    <a:gd name="T12" fmla="*/ 262 w 6380"/>
                    <a:gd name="T13" fmla="*/ 9168 h 9678"/>
                    <a:gd name="T14" fmla="*/ 156 w 6380"/>
                    <a:gd name="T15" fmla="*/ 9004 h 9678"/>
                    <a:gd name="T16" fmla="*/ 78 w 6380"/>
                    <a:gd name="T17" fmla="*/ 8832 h 9678"/>
                    <a:gd name="T18" fmla="*/ 26 w 6380"/>
                    <a:gd name="T19" fmla="*/ 8652 h 9678"/>
                    <a:gd name="T20" fmla="*/ 2 w 6380"/>
                    <a:gd name="T21" fmla="*/ 8466 h 9678"/>
                    <a:gd name="T22" fmla="*/ 4 w 6380"/>
                    <a:gd name="T23" fmla="*/ 8282 h 9678"/>
                    <a:gd name="T24" fmla="*/ 32 w 6380"/>
                    <a:gd name="T25" fmla="*/ 8098 h 9678"/>
                    <a:gd name="T26" fmla="*/ 88 w 6380"/>
                    <a:gd name="T27" fmla="*/ 7918 h 9678"/>
                    <a:gd name="T28" fmla="*/ 168 w 6380"/>
                    <a:gd name="T29" fmla="*/ 7748 h 9678"/>
                    <a:gd name="T30" fmla="*/ 276 w 6380"/>
                    <a:gd name="T31" fmla="*/ 7588 h 9678"/>
                    <a:gd name="T32" fmla="*/ 410 w 6380"/>
                    <a:gd name="T33" fmla="*/ 7442 h 9678"/>
                    <a:gd name="T34" fmla="*/ 410 w 6380"/>
                    <a:gd name="T35" fmla="*/ 2234 h 9678"/>
                    <a:gd name="T36" fmla="*/ 276 w 6380"/>
                    <a:gd name="T37" fmla="*/ 2090 h 9678"/>
                    <a:gd name="T38" fmla="*/ 168 w 6380"/>
                    <a:gd name="T39" fmla="*/ 1930 h 9678"/>
                    <a:gd name="T40" fmla="*/ 88 w 6380"/>
                    <a:gd name="T41" fmla="*/ 1760 h 9678"/>
                    <a:gd name="T42" fmla="*/ 32 w 6380"/>
                    <a:gd name="T43" fmla="*/ 1580 h 9678"/>
                    <a:gd name="T44" fmla="*/ 4 w 6380"/>
                    <a:gd name="T45" fmla="*/ 1396 h 9678"/>
                    <a:gd name="T46" fmla="*/ 2 w 6380"/>
                    <a:gd name="T47" fmla="*/ 1210 h 9678"/>
                    <a:gd name="T48" fmla="*/ 26 w 6380"/>
                    <a:gd name="T49" fmla="*/ 1026 h 9678"/>
                    <a:gd name="T50" fmla="*/ 78 w 6380"/>
                    <a:gd name="T51" fmla="*/ 846 h 9678"/>
                    <a:gd name="T52" fmla="*/ 156 w 6380"/>
                    <a:gd name="T53" fmla="*/ 672 h 9678"/>
                    <a:gd name="T54" fmla="*/ 262 w 6380"/>
                    <a:gd name="T55" fmla="*/ 510 h 9678"/>
                    <a:gd name="T56" fmla="*/ 348 w 6380"/>
                    <a:gd name="T57" fmla="*/ 410 h 9678"/>
                    <a:gd name="T58" fmla="*/ 492 w 6380"/>
                    <a:gd name="T59" fmla="*/ 276 h 9678"/>
                    <a:gd name="T60" fmla="*/ 652 w 6380"/>
                    <a:gd name="T61" fmla="*/ 168 h 9678"/>
                    <a:gd name="T62" fmla="*/ 822 w 6380"/>
                    <a:gd name="T63" fmla="*/ 86 h 9678"/>
                    <a:gd name="T64" fmla="*/ 1002 w 6380"/>
                    <a:gd name="T65" fmla="*/ 32 h 9678"/>
                    <a:gd name="T66" fmla="*/ 1186 w 6380"/>
                    <a:gd name="T67" fmla="*/ 4 h 9678"/>
                    <a:gd name="T68" fmla="*/ 1372 w 6380"/>
                    <a:gd name="T69" fmla="*/ 2 h 9678"/>
                    <a:gd name="T70" fmla="*/ 1556 w 6380"/>
                    <a:gd name="T71" fmla="*/ 26 h 9678"/>
                    <a:gd name="T72" fmla="*/ 1736 w 6380"/>
                    <a:gd name="T73" fmla="*/ 78 h 9678"/>
                    <a:gd name="T74" fmla="*/ 1910 w 6380"/>
                    <a:gd name="T75" fmla="*/ 156 h 9678"/>
                    <a:gd name="T76" fmla="*/ 2072 w 6380"/>
                    <a:gd name="T77" fmla="*/ 262 h 9678"/>
                    <a:gd name="T78" fmla="*/ 5970 w 6380"/>
                    <a:gd name="T79" fmla="*/ 3896 h 9678"/>
                    <a:gd name="T80" fmla="*/ 6062 w 6380"/>
                    <a:gd name="T81" fmla="*/ 3992 h 9678"/>
                    <a:gd name="T82" fmla="*/ 6180 w 6380"/>
                    <a:gd name="T83" fmla="*/ 4150 h 9678"/>
                    <a:gd name="T84" fmla="*/ 6274 w 6380"/>
                    <a:gd name="T85" fmla="*/ 4324 h 9678"/>
                    <a:gd name="T86" fmla="*/ 6338 w 6380"/>
                    <a:gd name="T87" fmla="*/ 4510 h 9678"/>
                    <a:gd name="T88" fmla="*/ 6374 w 6380"/>
                    <a:gd name="T89" fmla="*/ 4706 h 9678"/>
                    <a:gd name="T90" fmla="*/ 6380 w 6380"/>
                    <a:gd name="T91" fmla="*/ 4838 h 9678"/>
                    <a:gd name="T92" fmla="*/ 6364 w 6380"/>
                    <a:gd name="T93" fmla="*/ 5038 h 9678"/>
                    <a:gd name="T94" fmla="*/ 6320 w 6380"/>
                    <a:gd name="T95" fmla="*/ 5230 h 9678"/>
                    <a:gd name="T96" fmla="*/ 6246 w 6380"/>
                    <a:gd name="T97" fmla="*/ 5412 h 9678"/>
                    <a:gd name="T98" fmla="*/ 6144 w 6380"/>
                    <a:gd name="T99" fmla="*/ 5582 h 9678"/>
                    <a:gd name="T100" fmla="*/ 6018 w 6380"/>
                    <a:gd name="T101" fmla="*/ 5736 h 9678"/>
                    <a:gd name="T102" fmla="*/ 2174 w 6380"/>
                    <a:gd name="T103" fmla="*/ 9330 h 9678"/>
                    <a:gd name="T104" fmla="*/ 2026 w 6380"/>
                    <a:gd name="T105" fmla="*/ 9448 h 9678"/>
                    <a:gd name="T106" fmla="*/ 1868 w 6380"/>
                    <a:gd name="T107" fmla="*/ 9542 h 9678"/>
                    <a:gd name="T108" fmla="*/ 1700 w 6380"/>
                    <a:gd name="T109" fmla="*/ 9612 h 9678"/>
                    <a:gd name="T110" fmla="*/ 1528 w 6380"/>
                    <a:gd name="T111" fmla="*/ 9656 h 9678"/>
                    <a:gd name="T112" fmla="*/ 1350 w 6380"/>
                    <a:gd name="T113" fmla="*/ 9676 h 96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380" h="9678">
                      <a:moveTo>
                        <a:pt x="1292" y="9678"/>
                      </a:moveTo>
                      <a:lnTo>
                        <a:pt x="1292" y="9678"/>
                      </a:lnTo>
                      <a:lnTo>
                        <a:pt x="1226" y="9676"/>
                      </a:lnTo>
                      <a:lnTo>
                        <a:pt x="1162" y="9672"/>
                      </a:lnTo>
                      <a:lnTo>
                        <a:pt x="1098" y="9664"/>
                      </a:lnTo>
                      <a:lnTo>
                        <a:pt x="1034" y="9652"/>
                      </a:lnTo>
                      <a:lnTo>
                        <a:pt x="970" y="9638"/>
                      </a:lnTo>
                      <a:lnTo>
                        <a:pt x="908" y="9620"/>
                      </a:lnTo>
                      <a:lnTo>
                        <a:pt x="846" y="9600"/>
                      </a:lnTo>
                      <a:lnTo>
                        <a:pt x="786" y="9576"/>
                      </a:lnTo>
                      <a:lnTo>
                        <a:pt x="726" y="9548"/>
                      </a:lnTo>
                      <a:lnTo>
                        <a:pt x="666" y="9518"/>
                      </a:lnTo>
                      <a:lnTo>
                        <a:pt x="610" y="9484"/>
                      </a:lnTo>
                      <a:lnTo>
                        <a:pt x="554" y="9448"/>
                      </a:lnTo>
                      <a:lnTo>
                        <a:pt x="500" y="9408"/>
                      </a:lnTo>
                      <a:lnTo>
                        <a:pt x="446" y="9364"/>
                      </a:lnTo>
                      <a:lnTo>
                        <a:pt x="396" y="9318"/>
                      </a:lnTo>
                      <a:lnTo>
                        <a:pt x="348" y="9268"/>
                      </a:lnTo>
                      <a:lnTo>
                        <a:pt x="348" y="9268"/>
                      </a:lnTo>
                      <a:lnTo>
                        <a:pt x="304" y="9218"/>
                      </a:lnTo>
                      <a:lnTo>
                        <a:pt x="262" y="9168"/>
                      </a:lnTo>
                      <a:lnTo>
                        <a:pt x="224" y="9114"/>
                      </a:lnTo>
                      <a:lnTo>
                        <a:pt x="188" y="9060"/>
                      </a:lnTo>
                      <a:lnTo>
                        <a:pt x="156" y="9004"/>
                      </a:lnTo>
                      <a:lnTo>
                        <a:pt x="128" y="8948"/>
                      </a:lnTo>
                      <a:lnTo>
                        <a:pt x="102" y="8890"/>
                      </a:lnTo>
                      <a:lnTo>
                        <a:pt x="78" y="8832"/>
                      </a:lnTo>
                      <a:lnTo>
                        <a:pt x="58" y="8772"/>
                      </a:lnTo>
                      <a:lnTo>
                        <a:pt x="42" y="8712"/>
                      </a:lnTo>
                      <a:lnTo>
                        <a:pt x="26" y="8652"/>
                      </a:lnTo>
                      <a:lnTo>
                        <a:pt x="16" y="8590"/>
                      </a:lnTo>
                      <a:lnTo>
                        <a:pt x="8" y="8528"/>
                      </a:lnTo>
                      <a:lnTo>
                        <a:pt x="2" y="8466"/>
                      </a:lnTo>
                      <a:lnTo>
                        <a:pt x="0" y="8404"/>
                      </a:lnTo>
                      <a:lnTo>
                        <a:pt x="0" y="8342"/>
                      </a:lnTo>
                      <a:lnTo>
                        <a:pt x="4" y="8282"/>
                      </a:lnTo>
                      <a:lnTo>
                        <a:pt x="10" y="8220"/>
                      </a:lnTo>
                      <a:lnTo>
                        <a:pt x="20" y="8158"/>
                      </a:lnTo>
                      <a:lnTo>
                        <a:pt x="32" y="8098"/>
                      </a:lnTo>
                      <a:lnTo>
                        <a:pt x="48" y="8036"/>
                      </a:lnTo>
                      <a:lnTo>
                        <a:pt x="66" y="7978"/>
                      </a:lnTo>
                      <a:lnTo>
                        <a:pt x="88" y="7918"/>
                      </a:lnTo>
                      <a:lnTo>
                        <a:pt x="112" y="7860"/>
                      </a:lnTo>
                      <a:lnTo>
                        <a:pt x="138" y="7804"/>
                      </a:lnTo>
                      <a:lnTo>
                        <a:pt x="168" y="7748"/>
                      </a:lnTo>
                      <a:lnTo>
                        <a:pt x="202" y="7694"/>
                      </a:lnTo>
                      <a:lnTo>
                        <a:pt x="238" y="7640"/>
                      </a:lnTo>
                      <a:lnTo>
                        <a:pt x="276" y="7588"/>
                      </a:lnTo>
                      <a:lnTo>
                        <a:pt x="318" y="7538"/>
                      </a:lnTo>
                      <a:lnTo>
                        <a:pt x="362" y="7490"/>
                      </a:lnTo>
                      <a:lnTo>
                        <a:pt x="410" y="7442"/>
                      </a:lnTo>
                      <a:lnTo>
                        <a:pt x="3196" y="4838"/>
                      </a:lnTo>
                      <a:lnTo>
                        <a:pt x="410" y="2234"/>
                      </a:lnTo>
                      <a:lnTo>
                        <a:pt x="410" y="2234"/>
                      </a:lnTo>
                      <a:lnTo>
                        <a:pt x="362" y="2188"/>
                      </a:lnTo>
                      <a:lnTo>
                        <a:pt x="318" y="2140"/>
                      </a:lnTo>
                      <a:lnTo>
                        <a:pt x="276" y="2090"/>
                      </a:lnTo>
                      <a:lnTo>
                        <a:pt x="238" y="2038"/>
                      </a:lnTo>
                      <a:lnTo>
                        <a:pt x="202" y="1984"/>
                      </a:lnTo>
                      <a:lnTo>
                        <a:pt x="168" y="1930"/>
                      </a:lnTo>
                      <a:lnTo>
                        <a:pt x="138" y="1874"/>
                      </a:lnTo>
                      <a:lnTo>
                        <a:pt x="112" y="1818"/>
                      </a:lnTo>
                      <a:lnTo>
                        <a:pt x="88" y="1760"/>
                      </a:lnTo>
                      <a:lnTo>
                        <a:pt x="66" y="1700"/>
                      </a:lnTo>
                      <a:lnTo>
                        <a:pt x="48" y="1640"/>
                      </a:lnTo>
                      <a:lnTo>
                        <a:pt x="32" y="1580"/>
                      </a:lnTo>
                      <a:lnTo>
                        <a:pt x="20" y="1520"/>
                      </a:lnTo>
                      <a:lnTo>
                        <a:pt x="10" y="1458"/>
                      </a:lnTo>
                      <a:lnTo>
                        <a:pt x="4" y="1396"/>
                      </a:lnTo>
                      <a:lnTo>
                        <a:pt x="0" y="1334"/>
                      </a:lnTo>
                      <a:lnTo>
                        <a:pt x="0" y="1272"/>
                      </a:lnTo>
                      <a:lnTo>
                        <a:pt x="2" y="1210"/>
                      </a:lnTo>
                      <a:lnTo>
                        <a:pt x="8" y="1148"/>
                      </a:lnTo>
                      <a:lnTo>
                        <a:pt x="16" y="1088"/>
                      </a:lnTo>
                      <a:lnTo>
                        <a:pt x="26" y="1026"/>
                      </a:lnTo>
                      <a:lnTo>
                        <a:pt x="42" y="966"/>
                      </a:lnTo>
                      <a:lnTo>
                        <a:pt x="58" y="906"/>
                      </a:lnTo>
                      <a:lnTo>
                        <a:pt x="78" y="846"/>
                      </a:lnTo>
                      <a:lnTo>
                        <a:pt x="102" y="788"/>
                      </a:lnTo>
                      <a:lnTo>
                        <a:pt x="128" y="730"/>
                      </a:lnTo>
                      <a:lnTo>
                        <a:pt x="156" y="672"/>
                      </a:lnTo>
                      <a:lnTo>
                        <a:pt x="188" y="618"/>
                      </a:lnTo>
                      <a:lnTo>
                        <a:pt x="224" y="562"/>
                      </a:lnTo>
                      <a:lnTo>
                        <a:pt x="262" y="510"/>
                      </a:lnTo>
                      <a:lnTo>
                        <a:pt x="304" y="458"/>
                      </a:lnTo>
                      <a:lnTo>
                        <a:pt x="348" y="410"/>
                      </a:lnTo>
                      <a:lnTo>
                        <a:pt x="348" y="410"/>
                      </a:lnTo>
                      <a:lnTo>
                        <a:pt x="394" y="362"/>
                      </a:lnTo>
                      <a:lnTo>
                        <a:pt x="442" y="318"/>
                      </a:lnTo>
                      <a:lnTo>
                        <a:pt x="492" y="276"/>
                      </a:lnTo>
                      <a:lnTo>
                        <a:pt x="544" y="236"/>
                      </a:lnTo>
                      <a:lnTo>
                        <a:pt x="598" y="200"/>
                      </a:lnTo>
                      <a:lnTo>
                        <a:pt x="652" y="168"/>
                      </a:lnTo>
                      <a:lnTo>
                        <a:pt x="708" y="138"/>
                      </a:lnTo>
                      <a:lnTo>
                        <a:pt x="764" y="112"/>
                      </a:lnTo>
                      <a:lnTo>
                        <a:pt x="822" y="86"/>
                      </a:lnTo>
                      <a:lnTo>
                        <a:pt x="882" y="66"/>
                      </a:lnTo>
                      <a:lnTo>
                        <a:pt x="942" y="48"/>
                      </a:lnTo>
                      <a:lnTo>
                        <a:pt x="1002" y="32"/>
                      </a:lnTo>
                      <a:lnTo>
                        <a:pt x="1062" y="20"/>
                      </a:lnTo>
                      <a:lnTo>
                        <a:pt x="1124" y="10"/>
                      </a:lnTo>
                      <a:lnTo>
                        <a:pt x="1186" y="4"/>
                      </a:lnTo>
                      <a:lnTo>
                        <a:pt x="1248" y="0"/>
                      </a:lnTo>
                      <a:lnTo>
                        <a:pt x="1310" y="0"/>
                      </a:lnTo>
                      <a:lnTo>
                        <a:pt x="1372" y="2"/>
                      </a:lnTo>
                      <a:lnTo>
                        <a:pt x="1434" y="8"/>
                      </a:lnTo>
                      <a:lnTo>
                        <a:pt x="1494" y="16"/>
                      </a:lnTo>
                      <a:lnTo>
                        <a:pt x="1556" y="26"/>
                      </a:lnTo>
                      <a:lnTo>
                        <a:pt x="1616" y="40"/>
                      </a:lnTo>
                      <a:lnTo>
                        <a:pt x="1676" y="58"/>
                      </a:lnTo>
                      <a:lnTo>
                        <a:pt x="1736" y="78"/>
                      </a:lnTo>
                      <a:lnTo>
                        <a:pt x="1796" y="102"/>
                      </a:lnTo>
                      <a:lnTo>
                        <a:pt x="1852" y="128"/>
                      </a:lnTo>
                      <a:lnTo>
                        <a:pt x="1910" y="156"/>
                      </a:lnTo>
                      <a:lnTo>
                        <a:pt x="1964" y="188"/>
                      </a:lnTo>
                      <a:lnTo>
                        <a:pt x="2020" y="224"/>
                      </a:lnTo>
                      <a:lnTo>
                        <a:pt x="2072" y="262"/>
                      </a:lnTo>
                      <a:lnTo>
                        <a:pt x="2124" y="302"/>
                      </a:lnTo>
                      <a:lnTo>
                        <a:pt x="2174" y="348"/>
                      </a:lnTo>
                      <a:lnTo>
                        <a:pt x="5970" y="3896"/>
                      </a:lnTo>
                      <a:lnTo>
                        <a:pt x="5970" y="3896"/>
                      </a:lnTo>
                      <a:lnTo>
                        <a:pt x="6018" y="3942"/>
                      </a:lnTo>
                      <a:lnTo>
                        <a:pt x="6062" y="3992"/>
                      </a:lnTo>
                      <a:lnTo>
                        <a:pt x="6106" y="4042"/>
                      </a:lnTo>
                      <a:lnTo>
                        <a:pt x="6144" y="4096"/>
                      </a:lnTo>
                      <a:lnTo>
                        <a:pt x="6180" y="4150"/>
                      </a:lnTo>
                      <a:lnTo>
                        <a:pt x="6214" y="4206"/>
                      </a:lnTo>
                      <a:lnTo>
                        <a:pt x="6246" y="4264"/>
                      </a:lnTo>
                      <a:lnTo>
                        <a:pt x="6274" y="4324"/>
                      </a:lnTo>
                      <a:lnTo>
                        <a:pt x="6298" y="4386"/>
                      </a:lnTo>
                      <a:lnTo>
                        <a:pt x="6320" y="4448"/>
                      </a:lnTo>
                      <a:lnTo>
                        <a:pt x="6338" y="4510"/>
                      </a:lnTo>
                      <a:lnTo>
                        <a:pt x="6352" y="4574"/>
                      </a:lnTo>
                      <a:lnTo>
                        <a:pt x="6364" y="4640"/>
                      </a:lnTo>
                      <a:lnTo>
                        <a:pt x="6374" y="4706"/>
                      </a:lnTo>
                      <a:lnTo>
                        <a:pt x="6378" y="4772"/>
                      </a:lnTo>
                      <a:lnTo>
                        <a:pt x="6380" y="4838"/>
                      </a:lnTo>
                      <a:lnTo>
                        <a:pt x="6380" y="4838"/>
                      </a:lnTo>
                      <a:lnTo>
                        <a:pt x="6378" y="4906"/>
                      </a:lnTo>
                      <a:lnTo>
                        <a:pt x="6374" y="4972"/>
                      </a:lnTo>
                      <a:lnTo>
                        <a:pt x="6364" y="5038"/>
                      </a:lnTo>
                      <a:lnTo>
                        <a:pt x="6352" y="5102"/>
                      </a:lnTo>
                      <a:lnTo>
                        <a:pt x="6338" y="5166"/>
                      </a:lnTo>
                      <a:lnTo>
                        <a:pt x="6320" y="5230"/>
                      </a:lnTo>
                      <a:lnTo>
                        <a:pt x="6298" y="5292"/>
                      </a:lnTo>
                      <a:lnTo>
                        <a:pt x="6274" y="5354"/>
                      </a:lnTo>
                      <a:lnTo>
                        <a:pt x="6246" y="5412"/>
                      </a:lnTo>
                      <a:lnTo>
                        <a:pt x="6214" y="5470"/>
                      </a:lnTo>
                      <a:lnTo>
                        <a:pt x="6180" y="5528"/>
                      </a:lnTo>
                      <a:lnTo>
                        <a:pt x="6144" y="5582"/>
                      </a:lnTo>
                      <a:lnTo>
                        <a:pt x="6106" y="5636"/>
                      </a:lnTo>
                      <a:lnTo>
                        <a:pt x="6062" y="5686"/>
                      </a:lnTo>
                      <a:lnTo>
                        <a:pt x="6018" y="5736"/>
                      </a:lnTo>
                      <a:lnTo>
                        <a:pt x="5970" y="5782"/>
                      </a:lnTo>
                      <a:lnTo>
                        <a:pt x="2174" y="9330"/>
                      </a:lnTo>
                      <a:lnTo>
                        <a:pt x="2174" y="9330"/>
                      </a:lnTo>
                      <a:lnTo>
                        <a:pt x="2126" y="9372"/>
                      </a:lnTo>
                      <a:lnTo>
                        <a:pt x="2076" y="9412"/>
                      </a:lnTo>
                      <a:lnTo>
                        <a:pt x="2026" y="9448"/>
                      </a:lnTo>
                      <a:lnTo>
                        <a:pt x="1974" y="9482"/>
                      </a:lnTo>
                      <a:lnTo>
                        <a:pt x="1922" y="9514"/>
                      </a:lnTo>
                      <a:lnTo>
                        <a:pt x="1868" y="9542"/>
                      </a:lnTo>
                      <a:lnTo>
                        <a:pt x="1814" y="9568"/>
                      </a:lnTo>
                      <a:lnTo>
                        <a:pt x="1758" y="9592"/>
                      </a:lnTo>
                      <a:lnTo>
                        <a:pt x="1700" y="9612"/>
                      </a:lnTo>
                      <a:lnTo>
                        <a:pt x="1644" y="9630"/>
                      </a:lnTo>
                      <a:lnTo>
                        <a:pt x="1586" y="9644"/>
                      </a:lnTo>
                      <a:lnTo>
                        <a:pt x="1528" y="9656"/>
                      </a:lnTo>
                      <a:lnTo>
                        <a:pt x="1468" y="9666"/>
                      </a:lnTo>
                      <a:lnTo>
                        <a:pt x="1410" y="9672"/>
                      </a:lnTo>
                      <a:lnTo>
                        <a:pt x="1350" y="9676"/>
                      </a:lnTo>
                      <a:lnTo>
                        <a:pt x="1292" y="9678"/>
                      </a:lnTo>
                      <a:lnTo>
                        <a:pt x="1292" y="9678"/>
                      </a:lnTo>
                      <a:close/>
                    </a:path>
                  </a:pathLst>
                </a:custGeom>
                <a:solidFill>
                  <a:srgbClr val="ACC0E4"/>
                </a:solidFill>
                <a:ln w="15875">
                  <a:noFill/>
                  <a:miter lim="800000"/>
                </a:ln>
              </p:spPr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8" name="Freeform: Shape 6"/>
                <p:cNvSpPr/>
                <p:nvPr/>
              </p:nvSpPr>
              <p:spPr bwMode="auto">
                <a:xfrm>
                  <a:off x="8670223" y="3206671"/>
                  <a:ext cx="674170" cy="1022667"/>
                </a:xfrm>
                <a:custGeom>
                  <a:avLst/>
                  <a:gdLst>
                    <a:gd name="T0" fmla="*/ 1226 w 6380"/>
                    <a:gd name="T1" fmla="*/ 9676 h 9678"/>
                    <a:gd name="T2" fmla="*/ 1034 w 6380"/>
                    <a:gd name="T3" fmla="*/ 9652 h 9678"/>
                    <a:gd name="T4" fmla="*/ 846 w 6380"/>
                    <a:gd name="T5" fmla="*/ 9600 h 9678"/>
                    <a:gd name="T6" fmla="*/ 666 w 6380"/>
                    <a:gd name="T7" fmla="*/ 9518 h 9678"/>
                    <a:gd name="T8" fmla="*/ 500 w 6380"/>
                    <a:gd name="T9" fmla="*/ 9408 h 9678"/>
                    <a:gd name="T10" fmla="*/ 348 w 6380"/>
                    <a:gd name="T11" fmla="*/ 9268 h 9678"/>
                    <a:gd name="T12" fmla="*/ 262 w 6380"/>
                    <a:gd name="T13" fmla="*/ 9168 h 9678"/>
                    <a:gd name="T14" fmla="*/ 156 w 6380"/>
                    <a:gd name="T15" fmla="*/ 9004 h 9678"/>
                    <a:gd name="T16" fmla="*/ 78 w 6380"/>
                    <a:gd name="T17" fmla="*/ 8832 h 9678"/>
                    <a:gd name="T18" fmla="*/ 26 w 6380"/>
                    <a:gd name="T19" fmla="*/ 8652 h 9678"/>
                    <a:gd name="T20" fmla="*/ 2 w 6380"/>
                    <a:gd name="T21" fmla="*/ 8466 h 9678"/>
                    <a:gd name="T22" fmla="*/ 4 w 6380"/>
                    <a:gd name="T23" fmla="*/ 8282 h 9678"/>
                    <a:gd name="T24" fmla="*/ 32 w 6380"/>
                    <a:gd name="T25" fmla="*/ 8098 h 9678"/>
                    <a:gd name="T26" fmla="*/ 88 w 6380"/>
                    <a:gd name="T27" fmla="*/ 7918 h 9678"/>
                    <a:gd name="T28" fmla="*/ 168 w 6380"/>
                    <a:gd name="T29" fmla="*/ 7748 h 9678"/>
                    <a:gd name="T30" fmla="*/ 276 w 6380"/>
                    <a:gd name="T31" fmla="*/ 7588 h 9678"/>
                    <a:gd name="T32" fmla="*/ 410 w 6380"/>
                    <a:gd name="T33" fmla="*/ 7442 h 9678"/>
                    <a:gd name="T34" fmla="*/ 410 w 6380"/>
                    <a:gd name="T35" fmla="*/ 2234 h 9678"/>
                    <a:gd name="T36" fmla="*/ 276 w 6380"/>
                    <a:gd name="T37" fmla="*/ 2090 h 9678"/>
                    <a:gd name="T38" fmla="*/ 168 w 6380"/>
                    <a:gd name="T39" fmla="*/ 1930 h 9678"/>
                    <a:gd name="T40" fmla="*/ 88 w 6380"/>
                    <a:gd name="T41" fmla="*/ 1760 h 9678"/>
                    <a:gd name="T42" fmla="*/ 32 w 6380"/>
                    <a:gd name="T43" fmla="*/ 1580 h 9678"/>
                    <a:gd name="T44" fmla="*/ 4 w 6380"/>
                    <a:gd name="T45" fmla="*/ 1396 h 9678"/>
                    <a:gd name="T46" fmla="*/ 2 w 6380"/>
                    <a:gd name="T47" fmla="*/ 1210 h 9678"/>
                    <a:gd name="T48" fmla="*/ 26 w 6380"/>
                    <a:gd name="T49" fmla="*/ 1026 h 9678"/>
                    <a:gd name="T50" fmla="*/ 78 w 6380"/>
                    <a:gd name="T51" fmla="*/ 846 h 9678"/>
                    <a:gd name="T52" fmla="*/ 156 w 6380"/>
                    <a:gd name="T53" fmla="*/ 672 h 9678"/>
                    <a:gd name="T54" fmla="*/ 262 w 6380"/>
                    <a:gd name="T55" fmla="*/ 510 h 9678"/>
                    <a:gd name="T56" fmla="*/ 348 w 6380"/>
                    <a:gd name="T57" fmla="*/ 410 h 9678"/>
                    <a:gd name="T58" fmla="*/ 492 w 6380"/>
                    <a:gd name="T59" fmla="*/ 276 h 9678"/>
                    <a:gd name="T60" fmla="*/ 652 w 6380"/>
                    <a:gd name="T61" fmla="*/ 168 h 9678"/>
                    <a:gd name="T62" fmla="*/ 822 w 6380"/>
                    <a:gd name="T63" fmla="*/ 86 h 9678"/>
                    <a:gd name="T64" fmla="*/ 1002 w 6380"/>
                    <a:gd name="T65" fmla="*/ 32 h 9678"/>
                    <a:gd name="T66" fmla="*/ 1186 w 6380"/>
                    <a:gd name="T67" fmla="*/ 4 h 9678"/>
                    <a:gd name="T68" fmla="*/ 1372 w 6380"/>
                    <a:gd name="T69" fmla="*/ 2 h 9678"/>
                    <a:gd name="T70" fmla="*/ 1556 w 6380"/>
                    <a:gd name="T71" fmla="*/ 26 h 9678"/>
                    <a:gd name="T72" fmla="*/ 1736 w 6380"/>
                    <a:gd name="T73" fmla="*/ 78 h 9678"/>
                    <a:gd name="T74" fmla="*/ 1910 w 6380"/>
                    <a:gd name="T75" fmla="*/ 156 h 9678"/>
                    <a:gd name="T76" fmla="*/ 2072 w 6380"/>
                    <a:gd name="T77" fmla="*/ 262 h 9678"/>
                    <a:gd name="T78" fmla="*/ 5970 w 6380"/>
                    <a:gd name="T79" fmla="*/ 3896 h 9678"/>
                    <a:gd name="T80" fmla="*/ 6062 w 6380"/>
                    <a:gd name="T81" fmla="*/ 3992 h 9678"/>
                    <a:gd name="T82" fmla="*/ 6180 w 6380"/>
                    <a:gd name="T83" fmla="*/ 4150 h 9678"/>
                    <a:gd name="T84" fmla="*/ 6274 w 6380"/>
                    <a:gd name="T85" fmla="*/ 4324 h 9678"/>
                    <a:gd name="T86" fmla="*/ 6338 w 6380"/>
                    <a:gd name="T87" fmla="*/ 4510 h 9678"/>
                    <a:gd name="T88" fmla="*/ 6374 w 6380"/>
                    <a:gd name="T89" fmla="*/ 4706 h 9678"/>
                    <a:gd name="T90" fmla="*/ 6380 w 6380"/>
                    <a:gd name="T91" fmla="*/ 4838 h 9678"/>
                    <a:gd name="T92" fmla="*/ 6364 w 6380"/>
                    <a:gd name="T93" fmla="*/ 5038 h 9678"/>
                    <a:gd name="T94" fmla="*/ 6320 w 6380"/>
                    <a:gd name="T95" fmla="*/ 5230 h 9678"/>
                    <a:gd name="T96" fmla="*/ 6246 w 6380"/>
                    <a:gd name="T97" fmla="*/ 5412 h 9678"/>
                    <a:gd name="T98" fmla="*/ 6144 w 6380"/>
                    <a:gd name="T99" fmla="*/ 5582 h 9678"/>
                    <a:gd name="T100" fmla="*/ 6018 w 6380"/>
                    <a:gd name="T101" fmla="*/ 5736 h 9678"/>
                    <a:gd name="T102" fmla="*/ 2174 w 6380"/>
                    <a:gd name="T103" fmla="*/ 9330 h 9678"/>
                    <a:gd name="T104" fmla="*/ 2026 w 6380"/>
                    <a:gd name="T105" fmla="*/ 9448 h 9678"/>
                    <a:gd name="T106" fmla="*/ 1868 w 6380"/>
                    <a:gd name="T107" fmla="*/ 9542 h 9678"/>
                    <a:gd name="T108" fmla="*/ 1700 w 6380"/>
                    <a:gd name="T109" fmla="*/ 9612 h 9678"/>
                    <a:gd name="T110" fmla="*/ 1528 w 6380"/>
                    <a:gd name="T111" fmla="*/ 9656 h 9678"/>
                    <a:gd name="T112" fmla="*/ 1350 w 6380"/>
                    <a:gd name="T113" fmla="*/ 9676 h 96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380" h="9678">
                      <a:moveTo>
                        <a:pt x="1292" y="9678"/>
                      </a:moveTo>
                      <a:lnTo>
                        <a:pt x="1292" y="9678"/>
                      </a:lnTo>
                      <a:lnTo>
                        <a:pt x="1226" y="9676"/>
                      </a:lnTo>
                      <a:lnTo>
                        <a:pt x="1162" y="9672"/>
                      </a:lnTo>
                      <a:lnTo>
                        <a:pt x="1098" y="9664"/>
                      </a:lnTo>
                      <a:lnTo>
                        <a:pt x="1034" y="9652"/>
                      </a:lnTo>
                      <a:lnTo>
                        <a:pt x="970" y="9638"/>
                      </a:lnTo>
                      <a:lnTo>
                        <a:pt x="908" y="9620"/>
                      </a:lnTo>
                      <a:lnTo>
                        <a:pt x="846" y="9600"/>
                      </a:lnTo>
                      <a:lnTo>
                        <a:pt x="786" y="9576"/>
                      </a:lnTo>
                      <a:lnTo>
                        <a:pt x="726" y="9548"/>
                      </a:lnTo>
                      <a:lnTo>
                        <a:pt x="666" y="9518"/>
                      </a:lnTo>
                      <a:lnTo>
                        <a:pt x="610" y="9484"/>
                      </a:lnTo>
                      <a:lnTo>
                        <a:pt x="554" y="9448"/>
                      </a:lnTo>
                      <a:lnTo>
                        <a:pt x="500" y="9408"/>
                      </a:lnTo>
                      <a:lnTo>
                        <a:pt x="446" y="9364"/>
                      </a:lnTo>
                      <a:lnTo>
                        <a:pt x="396" y="9318"/>
                      </a:lnTo>
                      <a:lnTo>
                        <a:pt x="348" y="9268"/>
                      </a:lnTo>
                      <a:lnTo>
                        <a:pt x="348" y="9268"/>
                      </a:lnTo>
                      <a:lnTo>
                        <a:pt x="304" y="9218"/>
                      </a:lnTo>
                      <a:lnTo>
                        <a:pt x="262" y="9168"/>
                      </a:lnTo>
                      <a:lnTo>
                        <a:pt x="224" y="9114"/>
                      </a:lnTo>
                      <a:lnTo>
                        <a:pt x="188" y="9060"/>
                      </a:lnTo>
                      <a:lnTo>
                        <a:pt x="156" y="9004"/>
                      </a:lnTo>
                      <a:lnTo>
                        <a:pt x="128" y="8948"/>
                      </a:lnTo>
                      <a:lnTo>
                        <a:pt x="102" y="8890"/>
                      </a:lnTo>
                      <a:lnTo>
                        <a:pt x="78" y="8832"/>
                      </a:lnTo>
                      <a:lnTo>
                        <a:pt x="58" y="8772"/>
                      </a:lnTo>
                      <a:lnTo>
                        <a:pt x="42" y="8712"/>
                      </a:lnTo>
                      <a:lnTo>
                        <a:pt x="26" y="8652"/>
                      </a:lnTo>
                      <a:lnTo>
                        <a:pt x="16" y="8590"/>
                      </a:lnTo>
                      <a:lnTo>
                        <a:pt x="8" y="8528"/>
                      </a:lnTo>
                      <a:lnTo>
                        <a:pt x="2" y="8466"/>
                      </a:lnTo>
                      <a:lnTo>
                        <a:pt x="0" y="8404"/>
                      </a:lnTo>
                      <a:lnTo>
                        <a:pt x="0" y="8342"/>
                      </a:lnTo>
                      <a:lnTo>
                        <a:pt x="4" y="8282"/>
                      </a:lnTo>
                      <a:lnTo>
                        <a:pt x="10" y="8220"/>
                      </a:lnTo>
                      <a:lnTo>
                        <a:pt x="20" y="8158"/>
                      </a:lnTo>
                      <a:lnTo>
                        <a:pt x="32" y="8098"/>
                      </a:lnTo>
                      <a:lnTo>
                        <a:pt x="48" y="8036"/>
                      </a:lnTo>
                      <a:lnTo>
                        <a:pt x="66" y="7978"/>
                      </a:lnTo>
                      <a:lnTo>
                        <a:pt x="88" y="7918"/>
                      </a:lnTo>
                      <a:lnTo>
                        <a:pt x="112" y="7860"/>
                      </a:lnTo>
                      <a:lnTo>
                        <a:pt x="138" y="7804"/>
                      </a:lnTo>
                      <a:lnTo>
                        <a:pt x="168" y="7748"/>
                      </a:lnTo>
                      <a:lnTo>
                        <a:pt x="202" y="7694"/>
                      </a:lnTo>
                      <a:lnTo>
                        <a:pt x="238" y="7640"/>
                      </a:lnTo>
                      <a:lnTo>
                        <a:pt x="276" y="7588"/>
                      </a:lnTo>
                      <a:lnTo>
                        <a:pt x="318" y="7538"/>
                      </a:lnTo>
                      <a:lnTo>
                        <a:pt x="362" y="7490"/>
                      </a:lnTo>
                      <a:lnTo>
                        <a:pt x="410" y="7442"/>
                      </a:lnTo>
                      <a:lnTo>
                        <a:pt x="3196" y="4838"/>
                      </a:lnTo>
                      <a:lnTo>
                        <a:pt x="410" y="2234"/>
                      </a:lnTo>
                      <a:lnTo>
                        <a:pt x="410" y="2234"/>
                      </a:lnTo>
                      <a:lnTo>
                        <a:pt x="362" y="2188"/>
                      </a:lnTo>
                      <a:lnTo>
                        <a:pt x="318" y="2140"/>
                      </a:lnTo>
                      <a:lnTo>
                        <a:pt x="276" y="2090"/>
                      </a:lnTo>
                      <a:lnTo>
                        <a:pt x="238" y="2038"/>
                      </a:lnTo>
                      <a:lnTo>
                        <a:pt x="202" y="1984"/>
                      </a:lnTo>
                      <a:lnTo>
                        <a:pt x="168" y="1930"/>
                      </a:lnTo>
                      <a:lnTo>
                        <a:pt x="138" y="1874"/>
                      </a:lnTo>
                      <a:lnTo>
                        <a:pt x="112" y="1818"/>
                      </a:lnTo>
                      <a:lnTo>
                        <a:pt x="88" y="1760"/>
                      </a:lnTo>
                      <a:lnTo>
                        <a:pt x="66" y="1700"/>
                      </a:lnTo>
                      <a:lnTo>
                        <a:pt x="48" y="1640"/>
                      </a:lnTo>
                      <a:lnTo>
                        <a:pt x="32" y="1580"/>
                      </a:lnTo>
                      <a:lnTo>
                        <a:pt x="20" y="1520"/>
                      </a:lnTo>
                      <a:lnTo>
                        <a:pt x="10" y="1458"/>
                      </a:lnTo>
                      <a:lnTo>
                        <a:pt x="4" y="1396"/>
                      </a:lnTo>
                      <a:lnTo>
                        <a:pt x="0" y="1334"/>
                      </a:lnTo>
                      <a:lnTo>
                        <a:pt x="0" y="1272"/>
                      </a:lnTo>
                      <a:lnTo>
                        <a:pt x="2" y="1210"/>
                      </a:lnTo>
                      <a:lnTo>
                        <a:pt x="8" y="1148"/>
                      </a:lnTo>
                      <a:lnTo>
                        <a:pt x="16" y="1088"/>
                      </a:lnTo>
                      <a:lnTo>
                        <a:pt x="26" y="1026"/>
                      </a:lnTo>
                      <a:lnTo>
                        <a:pt x="42" y="966"/>
                      </a:lnTo>
                      <a:lnTo>
                        <a:pt x="58" y="906"/>
                      </a:lnTo>
                      <a:lnTo>
                        <a:pt x="78" y="846"/>
                      </a:lnTo>
                      <a:lnTo>
                        <a:pt x="102" y="788"/>
                      </a:lnTo>
                      <a:lnTo>
                        <a:pt x="128" y="730"/>
                      </a:lnTo>
                      <a:lnTo>
                        <a:pt x="156" y="672"/>
                      </a:lnTo>
                      <a:lnTo>
                        <a:pt x="188" y="618"/>
                      </a:lnTo>
                      <a:lnTo>
                        <a:pt x="224" y="562"/>
                      </a:lnTo>
                      <a:lnTo>
                        <a:pt x="262" y="510"/>
                      </a:lnTo>
                      <a:lnTo>
                        <a:pt x="304" y="458"/>
                      </a:lnTo>
                      <a:lnTo>
                        <a:pt x="348" y="410"/>
                      </a:lnTo>
                      <a:lnTo>
                        <a:pt x="348" y="410"/>
                      </a:lnTo>
                      <a:lnTo>
                        <a:pt x="394" y="362"/>
                      </a:lnTo>
                      <a:lnTo>
                        <a:pt x="442" y="318"/>
                      </a:lnTo>
                      <a:lnTo>
                        <a:pt x="492" y="276"/>
                      </a:lnTo>
                      <a:lnTo>
                        <a:pt x="544" y="236"/>
                      </a:lnTo>
                      <a:lnTo>
                        <a:pt x="598" y="200"/>
                      </a:lnTo>
                      <a:lnTo>
                        <a:pt x="652" y="168"/>
                      </a:lnTo>
                      <a:lnTo>
                        <a:pt x="708" y="138"/>
                      </a:lnTo>
                      <a:lnTo>
                        <a:pt x="764" y="112"/>
                      </a:lnTo>
                      <a:lnTo>
                        <a:pt x="822" y="86"/>
                      </a:lnTo>
                      <a:lnTo>
                        <a:pt x="882" y="66"/>
                      </a:lnTo>
                      <a:lnTo>
                        <a:pt x="942" y="48"/>
                      </a:lnTo>
                      <a:lnTo>
                        <a:pt x="1002" y="32"/>
                      </a:lnTo>
                      <a:lnTo>
                        <a:pt x="1062" y="20"/>
                      </a:lnTo>
                      <a:lnTo>
                        <a:pt x="1124" y="10"/>
                      </a:lnTo>
                      <a:lnTo>
                        <a:pt x="1186" y="4"/>
                      </a:lnTo>
                      <a:lnTo>
                        <a:pt x="1248" y="0"/>
                      </a:lnTo>
                      <a:lnTo>
                        <a:pt x="1310" y="0"/>
                      </a:lnTo>
                      <a:lnTo>
                        <a:pt x="1372" y="2"/>
                      </a:lnTo>
                      <a:lnTo>
                        <a:pt x="1434" y="8"/>
                      </a:lnTo>
                      <a:lnTo>
                        <a:pt x="1494" y="16"/>
                      </a:lnTo>
                      <a:lnTo>
                        <a:pt x="1556" y="26"/>
                      </a:lnTo>
                      <a:lnTo>
                        <a:pt x="1616" y="40"/>
                      </a:lnTo>
                      <a:lnTo>
                        <a:pt x="1676" y="58"/>
                      </a:lnTo>
                      <a:lnTo>
                        <a:pt x="1736" y="78"/>
                      </a:lnTo>
                      <a:lnTo>
                        <a:pt x="1796" y="102"/>
                      </a:lnTo>
                      <a:lnTo>
                        <a:pt x="1852" y="128"/>
                      </a:lnTo>
                      <a:lnTo>
                        <a:pt x="1910" y="156"/>
                      </a:lnTo>
                      <a:lnTo>
                        <a:pt x="1964" y="188"/>
                      </a:lnTo>
                      <a:lnTo>
                        <a:pt x="2020" y="224"/>
                      </a:lnTo>
                      <a:lnTo>
                        <a:pt x="2072" y="262"/>
                      </a:lnTo>
                      <a:lnTo>
                        <a:pt x="2124" y="302"/>
                      </a:lnTo>
                      <a:lnTo>
                        <a:pt x="2174" y="348"/>
                      </a:lnTo>
                      <a:lnTo>
                        <a:pt x="5970" y="3896"/>
                      </a:lnTo>
                      <a:lnTo>
                        <a:pt x="5970" y="3896"/>
                      </a:lnTo>
                      <a:lnTo>
                        <a:pt x="6018" y="3942"/>
                      </a:lnTo>
                      <a:lnTo>
                        <a:pt x="6062" y="3992"/>
                      </a:lnTo>
                      <a:lnTo>
                        <a:pt x="6106" y="4042"/>
                      </a:lnTo>
                      <a:lnTo>
                        <a:pt x="6144" y="4096"/>
                      </a:lnTo>
                      <a:lnTo>
                        <a:pt x="6180" y="4150"/>
                      </a:lnTo>
                      <a:lnTo>
                        <a:pt x="6214" y="4206"/>
                      </a:lnTo>
                      <a:lnTo>
                        <a:pt x="6246" y="4264"/>
                      </a:lnTo>
                      <a:lnTo>
                        <a:pt x="6274" y="4324"/>
                      </a:lnTo>
                      <a:lnTo>
                        <a:pt x="6298" y="4386"/>
                      </a:lnTo>
                      <a:lnTo>
                        <a:pt x="6320" y="4448"/>
                      </a:lnTo>
                      <a:lnTo>
                        <a:pt x="6338" y="4510"/>
                      </a:lnTo>
                      <a:lnTo>
                        <a:pt x="6352" y="4574"/>
                      </a:lnTo>
                      <a:lnTo>
                        <a:pt x="6364" y="4640"/>
                      </a:lnTo>
                      <a:lnTo>
                        <a:pt x="6374" y="4706"/>
                      </a:lnTo>
                      <a:lnTo>
                        <a:pt x="6378" y="4772"/>
                      </a:lnTo>
                      <a:lnTo>
                        <a:pt x="6380" y="4838"/>
                      </a:lnTo>
                      <a:lnTo>
                        <a:pt x="6380" y="4838"/>
                      </a:lnTo>
                      <a:lnTo>
                        <a:pt x="6378" y="4906"/>
                      </a:lnTo>
                      <a:lnTo>
                        <a:pt x="6374" y="4972"/>
                      </a:lnTo>
                      <a:lnTo>
                        <a:pt x="6364" y="5038"/>
                      </a:lnTo>
                      <a:lnTo>
                        <a:pt x="6352" y="5102"/>
                      </a:lnTo>
                      <a:lnTo>
                        <a:pt x="6338" y="5166"/>
                      </a:lnTo>
                      <a:lnTo>
                        <a:pt x="6320" y="5230"/>
                      </a:lnTo>
                      <a:lnTo>
                        <a:pt x="6298" y="5292"/>
                      </a:lnTo>
                      <a:lnTo>
                        <a:pt x="6274" y="5354"/>
                      </a:lnTo>
                      <a:lnTo>
                        <a:pt x="6246" y="5412"/>
                      </a:lnTo>
                      <a:lnTo>
                        <a:pt x="6214" y="5470"/>
                      </a:lnTo>
                      <a:lnTo>
                        <a:pt x="6180" y="5528"/>
                      </a:lnTo>
                      <a:lnTo>
                        <a:pt x="6144" y="5582"/>
                      </a:lnTo>
                      <a:lnTo>
                        <a:pt x="6106" y="5636"/>
                      </a:lnTo>
                      <a:lnTo>
                        <a:pt x="6062" y="5686"/>
                      </a:lnTo>
                      <a:lnTo>
                        <a:pt x="6018" y="5736"/>
                      </a:lnTo>
                      <a:lnTo>
                        <a:pt x="5970" y="5782"/>
                      </a:lnTo>
                      <a:lnTo>
                        <a:pt x="2174" y="9330"/>
                      </a:lnTo>
                      <a:lnTo>
                        <a:pt x="2174" y="9330"/>
                      </a:lnTo>
                      <a:lnTo>
                        <a:pt x="2126" y="9372"/>
                      </a:lnTo>
                      <a:lnTo>
                        <a:pt x="2076" y="9412"/>
                      </a:lnTo>
                      <a:lnTo>
                        <a:pt x="2026" y="9448"/>
                      </a:lnTo>
                      <a:lnTo>
                        <a:pt x="1974" y="9482"/>
                      </a:lnTo>
                      <a:lnTo>
                        <a:pt x="1922" y="9514"/>
                      </a:lnTo>
                      <a:lnTo>
                        <a:pt x="1868" y="9542"/>
                      </a:lnTo>
                      <a:lnTo>
                        <a:pt x="1814" y="9568"/>
                      </a:lnTo>
                      <a:lnTo>
                        <a:pt x="1758" y="9592"/>
                      </a:lnTo>
                      <a:lnTo>
                        <a:pt x="1700" y="9612"/>
                      </a:lnTo>
                      <a:lnTo>
                        <a:pt x="1644" y="9630"/>
                      </a:lnTo>
                      <a:lnTo>
                        <a:pt x="1586" y="9644"/>
                      </a:lnTo>
                      <a:lnTo>
                        <a:pt x="1528" y="9656"/>
                      </a:lnTo>
                      <a:lnTo>
                        <a:pt x="1468" y="9666"/>
                      </a:lnTo>
                      <a:lnTo>
                        <a:pt x="1410" y="9672"/>
                      </a:lnTo>
                      <a:lnTo>
                        <a:pt x="1350" y="9676"/>
                      </a:lnTo>
                      <a:lnTo>
                        <a:pt x="1292" y="9678"/>
                      </a:lnTo>
                      <a:lnTo>
                        <a:pt x="1292" y="9678"/>
                      </a:lnTo>
                      <a:close/>
                    </a:path>
                  </a:pathLst>
                </a:custGeom>
                <a:solidFill>
                  <a:srgbClr val="B1B5E1"/>
                </a:solidFill>
                <a:ln w="15875">
                  <a:noFill/>
                  <a:miter lim="800000"/>
                </a:ln>
              </p:spPr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9" name="Freeform: Shape 7"/>
                <p:cNvSpPr/>
                <p:nvPr/>
              </p:nvSpPr>
              <p:spPr bwMode="auto">
                <a:xfrm>
                  <a:off x="3381688" y="3206671"/>
                  <a:ext cx="674170" cy="1022667"/>
                </a:xfrm>
                <a:custGeom>
                  <a:avLst/>
                  <a:gdLst>
                    <a:gd name="T0" fmla="*/ 1226 w 6380"/>
                    <a:gd name="T1" fmla="*/ 9676 h 9678"/>
                    <a:gd name="T2" fmla="*/ 1034 w 6380"/>
                    <a:gd name="T3" fmla="*/ 9652 h 9678"/>
                    <a:gd name="T4" fmla="*/ 846 w 6380"/>
                    <a:gd name="T5" fmla="*/ 9600 h 9678"/>
                    <a:gd name="T6" fmla="*/ 666 w 6380"/>
                    <a:gd name="T7" fmla="*/ 9518 h 9678"/>
                    <a:gd name="T8" fmla="*/ 500 w 6380"/>
                    <a:gd name="T9" fmla="*/ 9408 h 9678"/>
                    <a:gd name="T10" fmla="*/ 348 w 6380"/>
                    <a:gd name="T11" fmla="*/ 9268 h 9678"/>
                    <a:gd name="T12" fmla="*/ 262 w 6380"/>
                    <a:gd name="T13" fmla="*/ 9168 h 9678"/>
                    <a:gd name="T14" fmla="*/ 156 w 6380"/>
                    <a:gd name="T15" fmla="*/ 9004 h 9678"/>
                    <a:gd name="T16" fmla="*/ 78 w 6380"/>
                    <a:gd name="T17" fmla="*/ 8832 h 9678"/>
                    <a:gd name="T18" fmla="*/ 26 w 6380"/>
                    <a:gd name="T19" fmla="*/ 8652 h 9678"/>
                    <a:gd name="T20" fmla="*/ 2 w 6380"/>
                    <a:gd name="T21" fmla="*/ 8466 h 9678"/>
                    <a:gd name="T22" fmla="*/ 4 w 6380"/>
                    <a:gd name="T23" fmla="*/ 8282 h 9678"/>
                    <a:gd name="T24" fmla="*/ 32 w 6380"/>
                    <a:gd name="T25" fmla="*/ 8098 h 9678"/>
                    <a:gd name="T26" fmla="*/ 88 w 6380"/>
                    <a:gd name="T27" fmla="*/ 7918 h 9678"/>
                    <a:gd name="T28" fmla="*/ 168 w 6380"/>
                    <a:gd name="T29" fmla="*/ 7748 h 9678"/>
                    <a:gd name="T30" fmla="*/ 276 w 6380"/>
                    <a:gd name="T31" fmla="*/ 7588 h 9678"/>
                    <a:gd name="T32" fmla="*/ 410 w 6380"/>
                    <a:gd name="T33" fmla="*/ 7442 h 9678"/>
                    <a:gd name="T34" fmla="*/ 410 w 6380"/>
                    <a:gd name="T35" fmla="*/ 2234 h 9678"/>
                    <a:gd name="T36" fmla="*/ 276 w 6380"/>
                    <a:gd name="T37" fmla="*/ 2090 h 9678"/>
                    <a:gd name="T38" fmla="*/ 168 w 6380"/>
                    <a:gd name="T39" fmla="*/ 1930 h 9678"/>
                    <a:gd name="T40" fmla="*/ 88 w 6380"/>
                    <a:gd name="T41" fmla="*/ 1760 h 9678"/>
                    <a:gd name="T42" fmla="*/ 32 w 6380"/>
                    <a:gd name="T43" fmla="*/ 1580 h 9678"/>
                    <a:gd name="T44" fmla="*/ 4 w 6380"/>
                    <a:gd name="T45" fmla="*/ 1396 h 9678"/>
                    <a:gd name="T46" fmla="*/ 2 w 6380"/>
                    <a:gd name="T47" fmla="*/ 1210 h 9678"/>
                    <a:gd name="T48" fmla="*/ 26 w 6380"/>
                    <a:gd name="T49" fmla="*/ 1026 h 9678"/>
                    <a:gd name="T50" fmla="*/ 78 w 6380"/>
                    <a:gd name="T51" fmla="*/ 846 h 9678"/>
                    <a:gd name="T52" fmla="*/ 156 w 6380"/>
                    <a:gd name="T53" fmla="*/ 672 h 9678"/>
                    <a:gd name="T54" fmla="*/ 262 w 6380"/>
                    <a:gd name="T55" fmla="*/ 510 h 9678"/>
                    <a:gd name="T56" fmla="*/ 348 w 6380"/>
                    <a:gd name="T57" fmla="*/ 410 h 9678"/>
                    <a:gd name="T58" fmla="*/ 492 w 6380"/>
                    <a:gd name="T59" fmla="*/ 276 h 9678"/>
                    <a:gd name="T60" fmla="*/ 652 w 6380"/>
                    <a:gd name="T61" fmla="*/ 168 h 9678"/>
                    <a:gd name="T62" fmla="*/ 822 w 6380"/>
                    <a:gd name="T63" fmla="*/ 86 h 9678"/>
                    <a:gd name="T64" fmla="*/ 1002 w 6380"/>
                    <a:gd name="T65" fmla="*/ 32 h 9678"/>
                    <a:gd name="T66" fmla="*/ 1186 w 6380"/>
                    <a:gd name="T67" fmla="*/ 4 h 9678"/>
                    <a:gd name="T68" fmla="*/ 1372 w 6380"/>
                    <a:gd name="T69" fmla="*/ 2 h 9678"/>
                    <a:gd name="T70" fmla="*/ 1556 w 6380"/>
                    <a:gd name="T71" fmla="*/ 26 h 9678"/>
                    <a:gd name="T72" fmla="*/ 1736 w 6380"/>
                    <a:gd name="T73" fmla="*/ 78 h 9678"/>
                    <a:gd name="T74" fmla="*/ 1910 w 6380"/>
                    <a:gd name="T75" fmla="*/ 156 h 9678"/>
                    <a:gd name="T76" fmla="*/ 2072 w 6380"/>
                    <a:gd name="T77" fmla="*/ 262 h 9678"/>
                    <a:gd name="T78" fmla="*/ 5970 w 6380"/>
                    <a:gd name="T79" fmla="*/ 3896 h 9678"/>
                    <a:gd name="T80" fmla="*/ 6062 w 6380"/>
                    <a:gd name="T81" fmla="*/ 3992 h 9678"/>
                    <a:gd name="T82" fmla="*/ 6180 w 6380"/>
                    <a:gd name="T83" fmla="*/ 4150 h 9678"/>
                    <a:gd name="T84" fmla="*/ 6274 w 6380"/>
                    <a:gd name="T85" fmla="*/ 4324 h 9678"/>
                    <a:gd name="T86" fmla="*/ 6338 w 6380"/>
                    <a:gd name="T87" fmla="*/ 4510 h 9678"/>
                    <a:gd name="T88" fmla="*/ 6374 w 6380"/>
                    <a:gd name="T89" fmla="*/ 4706 h 9678"/>
                    <a:gd name="T90" fmla="*/ 6380 w 6380"/>
                    <a:gd name="T91" fmla="*/ 4838 h 9678"/>
                    <a:gd name="T92" fmla="*/ 6364 w 6380"/>
                    <a:gd name="T93" fmla="*/ 5038 h 9678"/>
                    <a:gd name="T94" fmla="*/ 6320 w 6380"/>
                    <a:gd name="T95" fmla="*/ 5230 h 9678"/>
                    <a:gd name="T96" fmla="*/ 6246 w 6380"/>
                    <a:gd name="T97" fmla="*/ 5412 h 9678"/>
                    <a:gd name="T98" fmla="*/ 6144 w 6380"/>
                    <a:gd name="T99" fmla="*/ 5582 h 9678"/>
                    <a:gd name="T100" fmla="*/ 6018 w 6380"/>
                    <a:gd name="T101" fmla="*/ 5736 h 9678"/>
                    <a:gd name="T102" fmla="*/ 2174 w 6380"/>
                    <a:gd name="T103" fmla="*/ 9330 h 9678"/>
                    <a:gd name="T104" fmla="*/ 2026 w 6380"/>
                    <a:gd name="T105" fmla="*/ 9448 h 9678"/>
                    <a:gd name="T106" fmla="*/ 1868 w 6380"/>
                    <a:gd name="T107" fmla="*/ 9542 h 9678"/>
                    <a:gd name="T108" fmla="*/ 1700 w 6380"/>
                    <a:gd name="T109" fmla="*/ 9612 h 9678"/>
                    <a:gd name="T110" fmla="*/ 1528 w 6380"/>
                    <a:gd name="T111" fmla="*/ 9656 h 9678"/>
                    <a:gd name="T112" fmla="*/ 1350 w 6380"/>
                    <a:gd name="T113" fmla="*/ 9676 h 96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380" h="9678">
                      <a:moveTo>
                        <a:pt x="1292" y="9678"/>
                      </a:moveTo>
                      <a:lnTo>
                        <a:pt x="1292" y="9678"/>
                      </a:lnTo>
                      <a:lnTo>
                        <a:pt x="1226" y="9676"/>
                      </a:lnTo>
                      <a:lnTo>
                        <a:pt x="1162" y="9672"/>
                      </a:lnTo>
                      <a:lnTo>
                        <a:pt x="1098" y="9664"/>
                      </a:lnTo>
                      <a:lnTo>
                        <a:pt x="1034" y="9652"/>
                      </a:lnTo>
                      <a:lnTo>
                        <a:pt x="970" y="9638"/>
                      </a:lnTo>
                      <a:lnTo>
                        <a:pt x="908" y="9620"/>
                      </a:lnTo>
                      <a:lnTo>
                        <a:pt x="846" y="9600"/>
                      </a:lnTo>
                      <a:lnTo>
                        <a:pt x="786" y="9576"/>
                      </a:lnTo>
                      <a:lnTo>
                        <a:pt x="726" y="9548"/>
                      </a:lnTo>
                      <a:lnTo>
                        <a:pt x="666" y="9518"/>
                      </a:lnTo>
                      <a:lnTo>
                        <a:pt x="610" y="9484"/>
                      </a:lnTo>
                      <a:lnTo>
                        <a:pt x="554" y="9448"/>
                      </a:lnTo>
                      <a:lnTo>
                        <a:pt x="500" y="9408"/>
                      </a:lnTo>
                      <a:lnTo>
                        <a:pt x="446" y="9364"/>
                      </a:lnTo>
                      <a:lnTo>
                        <a:pt x="396" y="9318"/>
                      </a:lnTo>
                      <a:lnTo>
                        <a:pt x="348" y="9268"/>
                      </a:lnTo>
                      <a:lnTo>
                        <a:pt x="348" y="9268"/>
                      </a:lnTo>
                      <a:lnTo>
                        <a:pt x="304" y="9218"/>
                      </a:lnTo>
                      <a:lnTo>
                        <a:pt x="262" y="9168"/>
                      </a:lnTo>
                      <a:lnTo>
                        <a:pt x="224" y="9114"/>
                      </a:lnTo>
                      <a:lnTo>
                        <a:pt x="188" y="9060"/>
                      </a:lnTo>
                      <a:lnTo>
                        <a:pt x="156" y="9004"/>
                      </a:lnTo>
                      <a:lnTo>
                        <a:pt x="128" y="8948"/>
                      </a:lnTo>
                      <a:lnTo>
                        <a:pt x="102" y="8890"/>
                      </a:lnTo>
                      <a:lnTo>
                        <a:pt x="78" y="8832"/>
                      </a:lnTo>
                      <a:lnTo>
                        <a:pt x="58" y="8772"/>
                      </a:lnTo>
                      <a:lnTo>
                        <a:pt x="42" y="8712"/>
                      </a:lnTo>
                      <a:lnTo>
                        <a:pt x="26" y="8652"/>
                      </a:lnTo>
                      <a:lnTo>
                        <a:pt x="16" y="8590"/>
                      </a:lnTo>
                      <a:lnTo>
                        <a:pt x="8" y="8528"/>
                      </a:lnTo>
                      <a:lnTo>
                        <a:pt x="2" y="8466"/>
                      </a:lnTo>
                      <a:lnTo>
                        <a:pt x="0" y="8404"/>
                      </a:lnTo>
                      <a:lnTo>
                        <a:pt x="0" y="8342"/>
                      </a:lnTo>
                      <a:lnTo>
                        <a:pt x="4" y="8282"/>
                      </a:lnTo>
                      <a:lnTo>
                        <a:pt x="10" y="8220"/>
                      </a:lnTo>
                      <a:lnTo>
                        <a:pt x="20" y="8158"/>
                      </a:lnTo>
                      <a:lnTo>
                        <a:pt x="32" y="8098"/>
                      </a:lnTo>
                      <a:lnTo>
                        <a:pt x="48" y="8036"/>
                      </a:lnTo>
                      <a:lnTo>
                        <a:pt x="66" y="7978"/>
                      </a:lnTo>
                      <a:lnTo>
                        <a:pt x="88" y="7918"/>
                      </a:lnTo>
                      <a:lnTo>
                        <a:pt x="112" y="7860"/>
                      </a:lnTo>
                      <a:lnTo>
                        <a:pt x="138" y="7804"/>
                      </a:lnTo>
                      <a:lnTo>
                        <a:pt x="168" y="7748"/>
                      </a:lnTo>
                      <a:lnTo>
                        <a:pt x="202" y="7694"/>
                      </a:lnTo>
                      <a:lnTo>
                        <a:pt x="238" y="7640"/>
                      </a:lnTo>
                      <a:lnTo>
                        <a:pt x="276" y="7588"/>
                      </a:lnTo>
                      <a:lnTo>
                        <a:pt x="318" y="7538"/>
                      </a:lnTo>
                      <a:lnTo>
                        <a:pt x="362" y="7490"/>
                      </a:lnTo>
                      <a:lnTo>
                        <a:pt x="410" y="7442"/>
                      </a:lnTo>
                      <a:lnTo>
                        <a:pt x="3196" y="4838"/>
                      </a:lnTo>
                      <a:lnTo>
                        <a:pt x="410" y="2234"/>
                      </a:lnTo>
                      <a:lnTo>
                        <a:pt x="410" y="2234"/>
                      </a:lnTo>
                      <a:lnTo>
                        <a:pt x="362" y="2188"/>
                      </a:lnTo>
                      <a:lnTo>
                        <a:pt x="318" y="2140"/>
                      </a:lnTo>
                      <a:lnTo>
                        <a:pt x="276" y="2090"/>
                      </a:lnTo>
                      <a:lnTo>
                        <a:pt x="238" y="2038"/>
                      </a:lnTo>
                      <a:lnTo>
                        <a:pt x="202" y="1984"/>
                      </a:lnTo>
                      <a:lnTo>
                        <a:pt x="168" y="1930"/>
                      </a:lnTo>
                      <a:lnTo>
                        <a:pt x="138" y="1874"/>
                      </a:lnTo>
                      <a:lnTo>
                        <a:pt x="112" y="1818"/>
                      </a:lnTo>
                      <a:lnTo>
                        <a:pt x="88" y="1760"/>
                      </a:lnTo>
                      <a:lnTo>
                        <a:pt x="66" y="1700"/>
                      </a:lnTo>
                      <a:lnTo>
                        <a:pt x="48" y="1640"/>
                      </a:lnTo>
                      <a:lnTo>
                        <a:pt x="32" y="1580"/>
                      </a:lnTo>
                      <a:lnTo>
                        <a:pt x="20" y="1520"/>
                      </a:lnTo>
                      <a:lnTo>
                        <a:pt x="10" y="1458"/>
                      </a:lnTo>
                      <a:lnTo>
                        <a:pt x="4" y="1396"/>
                      </a:lnTo>
                      <a:lnTo>
                        <a:pt x="0" y="1334"/>
                      </a:lnTo>
                      <a:lnTo>
                        <a:pt x="0" y="1272"/>
                      </a:lnTo>
                      <a:lnTo>
                        <a:pt x="2" y="1210"/>
                      </a:lnTo>
                      <a:lnTo>
                        <a:pt x="8" y="1148"/>
                      </a:lnTo>
                      <a:lnTo>
                        <a:pt x="16" y="1088"/>
                      </a:lnTo>
                      <a:lnTo>
                        <a:pt x="26" y="1026"/>
                      </a:lnTo>
                      <a:lnTo>
                        <a:pt x="42" y="966"/>
                      </a:lnTo>
                      <a:lnTo>
                        <a:pt x="58" y="906"/>
                      </a:lnTo>
                      <a:lnTo>
                        <a:pt x="78" y="846"/>
                      </a:lnTo>
                      <a:lnTo>
                        <a:pt x="102" y="788"/>
                      </a:lnTo>
                      <a:lnTo>
                        <a:pt x="128" y="730"/>
                      </a:lnTo>
                      <a:lnTo>
                        <a:pt x="156" y="672"/>
                      </a:lnTo>
                      <a:lnTo>
                        <a:pt x="188" y="618"/>
                      </a:lnTo>
                      <a:lnTo>
                        <a:pt x="224" y="562"/>
                      </a:lnTo>
                      <a:lnTo>
                        <a:pt x="262" y="510"/>
                      </a:lnTo>
                      <a:lnTo>
                        <a:pt x="304" y="458"/>
                      </a:lnTo>
                      <a:lnTo>
                        <a:pt x="348" y="410"/>
                      </a:lnTo>
                      <a:lnTo>
                        <a:pt x="348" y="410"/>
                      </a:lnTo>
                      <a:lnTo>
                        <a:pt x="394" y="362"/>
                      </a:lnTo>
                      <a:lnTo>
                        <a:pt x="442" y="318"/>
                      </a:lnTo>
                      <a:lnTo>
                        <a:pt x="492" y="276"/>
                      </a:lnTo>
                      <a:lnTo>
                        <a:pt x="544" y="236"/>
                      </a:lnTo>
                      <a:lnTo>
                        <a:pt x="598" y="200"/>
                      </a:lnTo>
                      <a:lnTo>
                        <a:pt x="652" y="168"/>
                      </a:lnTo>
                      <a:lnTo>
                        <a:pt x="708" y="138"/>
                      </a:lnTo>
                      <a:lnTo>
                        <a:pt x="764" y="112"/>
                      </a:lnTo>
                      <a:lnTo>
                        <a:pt x="822" y="86"/>
                      </a:lnTo>
                      <a:lnTo>
                        <a:pt x="882" y="66"/>
                      </a:lnTo>
                      <a:lnTo>
                        <a:pt x="942" y="48"/>
                      </a:lnTo>
                      <a:lnTo>
                        <a:pt x="1002" y="32"/>
                      </a:lnTo>
                      <a:lnTo>
                        <a:pt x="1062" y="20"/>
                      </a:lnTo>
                      <a:lnTo>
                        <a:pt x="1124" y="10"/>
                      </a:lnTo>
                      <a:lnTo>
                        <a:pt x="1186" y="4"/>
                      </a:lnTo>
                      <a:lnTo>
                        <a:pt x="1248" y="0"/>
                      </a:lnTo>
                      <a:lnTo>
                        <a:pt x="1310" y="0"/>
                      </a:lnTo>
                      <a:lnTo>
                        <a:pt x="1372" y="2"/>
                      </a:lnTo>
                      <a:lnTo>
                        <a:pt x="1434" y="8"/>
                      </a:lnTo>
                      <a:lnTo>
                        <a:pt x="1494" y="16"/>
                      </a:lnTo>
                      <a:lnTo>
                        <a:pt x="1556" y="26"/>
                      </a:lnTo>
                      <a:lnTo>
                        <a:pt x="1616" y="40"/>
                      </a:lnTo>
                      <a:lnTo>
                        <a:pt x="1676" y="58"/>
                      </a:lnTo>
                      <a:lnTo>
                        <a:pt x="1736" y="78"/>
                      </a:lnTo>
                      <a:lnTo>
                        <a:pt x="1796" y="102"/>
                      </a:lnTo>
                      <a:lnTo>
                        <a:pt x="1852" y="128"/>
                      </a:lnTo>
                      <a:lnTo>
                        <a:pt x="1910" y="156"/>
                      </a:lnTo>
                      <a:lnTo>
                        <a:pt x="1964" y="188"/>
                      </a:lnTo>
                      <a:lnTo>
                        <a:pt x="2020" y="224"/>
                      </a:lnTo>
                      <a:lnTo>
                        <a:pt x="2072" y="262"/>
                      </a:lnTo>
                      <a:lnTo>
                        <a:pt x="2124" y="302"/>
                      </a:lnTo>
                      <a:lnTo>
                        <a:pt x="2174" y="348"/>
                      </a:lnTo>
                      <a:lnTo>
                        <a:pt x="5970" y="3896"/>
                      </a:lnTo>
                      <a:lnTo>
                        <a:pt x="5970" y="3896"/>
                      </a:lnTo>
                      <a:lnTo>
                        <a:pt x="6018" y="3942"/>
                      </a:lnTo>
                      <a:lnTo>
                        <a:pt x="6062" y="3992"/>
                      </a:lnTo>
                      <a:lnTo>
                        <a:pt x="6106" y="4042"/>
                      </a:lnTo>
                      <a:lnTo>
                        <a:pt x="6144" y="4096"/>
                      </a:lnTo>
                      <a:lnTo>
                        <a:pt x="6180" y="4150"/>
                      </a:lnTo>
                      <a:lnTo>
                        <a:pt x="6214" y="4206"/>
                      </a:lnTo>
                      <a:lnTo>
                        <a:pt x="6246" y="4264"/>
                      </a:lnTo>
                      <a:lnTo>
                        <a:pt x="6274" y="4324"/>
                      </a:lnTo>
                      <a:lnTo>
                        <a:pt x="6298" y="4386"/>
                      </a:lnTo>
                      <a:lnTo>
                        <a:pt x="6320" y="4448"/>
                      </a:lnTo>
                      <a:lnTo>
                        <a:pt x="6338" y="4510"/>
                      </a:lnTo>
                      <a:lnTo>
                        <a:pt x="6352" y="4574"/>
                      </a:lnTo>
                      <a:lnTo>
                        <a:pt x="6364" y="4640"/>
                      </a:lnTo>
                      <a:lnTo>
                        <a:pt x="6374" y="4706"/>
                      </a:lnTo>
                      <a:lnTo>
                        <a:pt x="6378" y="4772"/>
                      </a:lnTo>
                      <a:lnTo>
                        <a:pt x="6380" y="4838"/>
                      </a:lnTo>
                      <a:lnTo>
                        <a:pt x="6380" y="4838"/>
                      </a:lnTo>
                      <a:lnTo>
                        <a:pt x="6378" y="4906"/>
                      </a:lnTo>
                      <a:lnTo>
                        <a:pt x="6374" y="4972"/>
                      </a:lnTo>
                      <a:lnTo>
                        <a:pt x="6364" y="5038"/>
                      </a:lnTo>
                      <a:lnTo>
                        <a:pt x="6352" y="5102"/>
                      </a:lnTo>
                      <a:lnTo>
                        <a:pt x="6338" y="5166"/>
                      </a:lnTo>
                      <a:lnTo>
                        <a:pt x="6320" y="5230"/>
                      </a:lnTo>
                      <a:lnTo>
                        <a:pt x="6298" y="5292"/>
                      </a:lnTo>
                      <a:lnTo>
                        <a:pt x="6274" y="5354"/>
                      </a:lnTo>
                      <a:lnTo>
                        <a:pt x="6246" y="5412"/>
                      </a:lnTo>
                      <a:lnTo>
                        <a:pt x="6214" y="5470"/>
                      </a:lnTo>
                      <a:lnTo>
                        <a:pt x="6180" y="5528"/>
                      </a:lnTo>
                      <a:lnTo>
                        <a:pt x="6144" y="5582"/>
                      </a:lnTo>
                      <a:lnTo>
                        <a:pt x="6106" y="5636"/>
                      </a:lnTo>
                      <a:lnTo>
                        <a:pt x="6062" y="5686"/>
                      </a:lnTo>
                      <a:lnTo>
                        <a:pt x="6018" y="5736"/>
                      </a:lnTo>
                      <a:lnTo>
                        <a:pt x="5970" y="5782"/>
                      </a:lnTo>
                      <a:lnTo>
                        <a:pt x="2174" y="9330"/>
                      </a:lnTo>
                      <a:lnTo>
                        <a:pt x="2174" y="9330"/>
                      </a:lnTo>
                      <a:lnTo>
                        <a:pt x="2126" y="9372"/>
                      </a:lnTo>
                      <a:lnTo>
                        <a:pt x="2076" y="9412"/>
                      </a:lnTo>
                      <a:lnTo>
                        <a:pt x="2026" y="9448"/>
                      </a:lnTo>
                      <a:lnTo>
                        <a:pt x="1974" y="9482"/>
                      </a:lnTo>
                      <a:lnTo>
                        <a:pt x="1922" y="9514"/>
                      </a:lnTo>
                      <a:lnTo>
                        <a:pt x="1868" y="9542"/>
                      </a:lnTo>
                      <a:lnTo>
                        <a:pt x="1814" y="9568"/>
                      </a:lnTo>
                      <a:lnTo>
                        <a:pt x="1758" y="9592"/>
                      </a:lnTo>
                      <a:lnTo>
                        <a:pt x="1700" y="9612"/>
                      </a:lnTo>
                      <a:lnTo>
                        <a:pt x="1644" y="9630"/>
                      </a:lnTo>
                      <a:lnTo>
                        <a:pt x="1586" y="9644"/>
                      </a:lnTo>
                      <a:lnTo>
                        <a:pt x="1528" y="9656"/>
                      </a:lnTo>
                      <a:lnTo>
                        <a:pt x="1468" y="9666"/>
                      </a:lnTo>
                      <a:lnTo>
                        <a:pt x="1410" y="9672"/>
                      </a:lnTo>
                      <a:lnTo>
                        <a:pt x="1350" y="9676"/>
                      </a:lnTo>
                      <a:lnTo>
                        <a:pt x="1292" y="9678"/>
                      </a:lnTo>
                      <a:lnTo>
                        <a:pt x="1292" y="967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15875">
                  <a:noFill/>
                  <a:miter lim="800000"/>
                </a:ln>
              </p:spPr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cxnSp>
              <p:nvCxnSpPr>
                <p:cNvPr id="10" name="Straight Arrow Connector 8"/>
                <p:cNvCxnSpPr/>
                <p:nvPr/>
              </p:nvCxnSpPr>
              <p:spPr>
                <a:xfrm flipV="1">
                  <a:off x="5941158" y="2526947"/>
                  <a:ext cx="0" cy="423241"/>
                </a:xfrm>
                <a:prstGeom prst="straightConnector1">
                  <a:avLst/>
                </a:prstGeom>
                <a:ln>
                  <a:solidFill>
                    <a:srgbClr val="C8ACE8"/>
                  </a:solidFill>
                  <a:tailEnd type="oval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" name="Freeform: Shape 9"/>
                <p:cNvSpPr/>
                <p:nvPr/>
              </p:nvSpPr>
              <p:spPr bwMode="auto">
                <a:xfrm>
                  <a:off x="5656317" y="2879972"/>
                  <a:ext cx="1104907" cy="1676065"/>
                </a:xfrm>
                <a:custGeom>
                  <a:avLst/>
                  <a:gdLst>
                    <a:gd name="T0" fmla="*/ 1226 w 6380"/>
                    <a:gd name="T1" fmla="*/ 9676 h 9678"/>
                    <a:gd name="T2" fmla="*/ 1034 w 6380"/>
                    <a:gd name="T3" fmla="*/ 9652 h 9678"/>
                    <a:gd name="T4" fmla="*/ 846 w 6380"/>
                    <a:gd name="T5" fmla="*/ 9600 h 9678"/>
                    <a:gd name="T6" fmla="*/ 666 w 6380"/>
                    <a:gd name="T7" fmla="*/ 9518 h 9678"/>
                    <a:gd name="T8" fmla="*/ 500 w 6380"/>
                    <a:gd name="T9" fmla="*/ 9408 h 9678"/>
                    <a:gd name="T10" fmla="*/ 348 w 6380"/>
                    <a:gd name="T11" fmla="*/ 9268 h 9678"/>
                    <a:gd name="T12" fmla="*/ 262 w 6380"/>
                    <a:gd name="T13" fmla="*/ 9168 h 9678"/>
                    <a:gd name="T14" fmla="*/ 156 w 6380"/>
                    <a:gd name="T15" fmla="*/ 9004 h 9678"/>
                    <a:gd name="T16" fmla="*/ 78 w 6380"/>
                    <a:gd name="T17" fmla="*/ 8832 h 9678"/>
                    <a:gd name="T18" fmla="*/ 26 w 6380"/>
                    <a:gd name="T19" fmla="*/ 8652 h 9678"/>
                    <a:gd name="T20" fmla="*/ 2 w 6380"/>
                    <a:gd name="T21" fmla="*/ 8466 h 9678"/>
                    <a:gd name="T22" fmla="*/ 4 w 6380"/>
                    <a:gd name="T23" fmla="*/ 8282 h 9678"/>
                    <a:gd name="T24" fmla="*/ 32 w 6380"/>
                    <a:gd name="T25" fmla="*/ 8098 h 9678"/>
                    <a:gd name="T26" fmla="*/ 88 w 6380"/>
                    <a:gd name="T27" fmla="*/ 7918 h 9678"/>
                    <a:gd name="T28" fmla="*/ 168 w 6380"/>
                    <a:gd name="T29" fmla="*/ 7748 h 9678"/>
                    <a:gd name="T30" fmla="*/ 276 w 6380"/>
                    <a:gd name="T31" fmla="*/ 7588 h 9678"/>
                    <a:gd name="T32" fmla="*/ 410 w 6380"/>
                    <a:gd name="T33" fmla="*/ 7442 h 9678"/>
                    <a:gd name="T34" fmla="*/ 410 w 6380"/>
                    <a:gd name="T35" fmla="*/ 2234 h 9678"/>
                    <a:gd name="T36" fmla="*/ 276 w 6380"/>
                    <a:gd name="T37" fmla="*/ 2090 h 9678"/>
                    <a:gd name="T38" fmla="*/ 168 w 6380"/>
                    <a:gd name="T39" fmla="*/ 1930 h 9678"/>
                    <a:gd name="T40" fmla="*/ 88 w 6380"/>
                    <a:gd name="T41" fmla="*/ 1760 h 9678"/>
                    <a:gd name="T42" fmla="*/ 32 w 6380"/>
                    <a:gd name="T43" fmla="*/ 1580 h 9678"/>
                    <a:gd name="T44" fmla="*/ 4 w 6380"/>
                    <a:gd name="T45" fmla="*/ 1396 h 9678"/>
                    <a:gd name="T46" fmla="*/ 2 w 6380"/>
                    <a:gd name="T47" fmla="*/ 1210 h 9678"/>
                    <a:gd name="T48" fmla="*/ 26 w 6380"/>
                    <a:gd name="T49" fmla="*/ 1026 h 9678"/>
                    <a:gd name="T50" fmla="*/ 78 w 6380"/>
                    <a:gd name="T51" fmla="*/ 846 h 9678"/>
                    <a:gd name="T52" fmla="*/ 156 w 6380"/>
                    <a:gd name="T53" fmla="*/ 672 h 9678"/>
                    <a:gd name="T54" fmla="*/ 262 w 6380"/>
                    <a:gd name="T55" fmla="*/ 510 h 9678"/>
                    <a:gd name="T56" fmla="*/ 348 w 6380"/>
                    <a:gd name="T57" fmla="*/ 410 h 9678"/>
                    <a:gd name="T58" fmla="*/ 492 w 6380"/>
                    <a:gd name="T59" fmla="*/ 276 h 9678"/>
                    <a:gd name="T60" fmla="*/ 652 w 6380"/>
                    <a:gd name="T61" fmla="*/ 168 h 9678"/>
                    <a:gd name="T62" fmla="*/ 822 w 6380"/>
                    <a:gd name="T63" fmla="*/ 86 h 9678"/>
                    <a:gd name="T64" fmla="*/ 1002 w 6380"/>
                    <a:gd name="T65" fmla="*/ 32 h 9678"/>
                    <a:gd name="T66" fmla="*/ 1186 w 6380"/>
                    <a:gd name="T67" fmla="*/ 4 h 9678"/>
                    <a:gd name="T68" fmla="*/ 1372 w 6380"/>
                    <a:gd name="T69" fmla="*/ 2 h 9678"/>
                    <a:gd name="T70" fmla="*/ 1556 w 6380"/>
                    <a:gd name="T71" fmla="*/ 26 h 9678"/>
                    <a:gd name="T72" fmla="*/ 1736 w 6380"/>
                    <a:gd name="T73" fmla="*/ 78 h 9678"/>
                    <a:gd name="T74" fmla="*/ 1910 w 6380"/>
                    <a:gd name="T75" fmla="*/ 156 h 9678"/>
                    <a:gd name="T76" fmla="*/ 2072 w 6380"/>
                    <a:gd name="T77" fmla="*/ 262 h 9678"/>
                    <a:gd name="T78" fmla="*/ 5970 w 6380"/>
                    <a:gd name="T79" fmla="*/ 3896 h 9678"/>
                    <a:gd name="T80" fmla="*/ 6062 w 6380"/>
                    <a:gd name="T81" fmla="*/ 3992 h 9678"/>
                    <a:gd name="T82" fmla="*/ 6180 w 6380"/>
                    <a:gd name="T83" fmla="*/ 4150 h 9678"/>
                    <a:gd name="T84" fmla="*/ 6274 w 6380"/>
                    <a:gd name="T85" fmla="*/ 4324 h 9678"/>
                    <a:gd name="T86" fmla="*/ 6338 w 6380"/>
                    <a:gd name="T87" fmla="*/ 4510 h 9678"/>
                    <a:gd name="T88" fmla="*/ 6374 w 6380"/>
                    <a:gd name="T89" fmla="*/ 4706 h 9678"/>
                    <a:gd name="T90" fmla="*/ 6380 w 6380"/>
                    <a:gd name="T91" fmla="*/ 4838 h 9678"/>
                    <a:gd name="T92" fmla="*/ 6364 w 6380"/>
                    <a:gd name="T93" fmla="*/ 5038 h 9678"/>
                    <a:gd name="T94" fmla="*/ 6320 w 6380"/>
                    <a:gd name="T95" fmla="*/ 5230 h 9678"/>
                    <a:gd name="T96" fmla="*/ 6246 w 6380"/>
                    <a:gd name="T97" fmla="*/ 5412 h 9678"/>
                    <a:gd name="T98" fmla="*/ 6144 w 6380"/>
                    <a:gd name="T99" fmla="*/ 5582 h 9678"/>
                    <a:gd name="T100" fmla="*/ 6018 w 6380"/>
                    <a:gd name="T101" fmla="*/ 5736 h 9678"/>
                    <a:gd name="T102" fmla="*/ 2174 w 6380"/>
                    <a:gd name="T103" fmla="*/ 9330 h 9678"/>
                    <a:gd name="T104" fmla="*/ 2026 w 6380"/>
                    <a:gd name="T105" fmla="*/ 9448 h 9678"/>
                    <a:gd name="T106" fmla="*/ 1868 w 6380"/>
                    <a:gd name="T107" fmla="*/ 9542 h 9678"/>
                    <a:gd name="T108" fmla="*/ 1700 w 6380"/>
                    <a:gd name="T109" fmla="*/ 9612 h 9678"/>
                    <a:gd name="T110" fmla="*/ 1528 w 6380"/>
                    <a:gd name="T111" fmla="*/ 9656 h 9678"/>
                    <a:gd name="T112" fmla="*/ 1350 w 6380"/>
                    <a:gd name="T113" fmla="*/ 9676 h 96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380" h="9678">
                      <a:moveTo>
                        <a:pt x="1292" y="9678"/>
                      </a:moveTo>
                      <a:lnTo>
                        <a:pt x="1292" y="9678"/>
                      </a:lnTo>
                      <a:lnTo>
                        <a:pt x="1226" y="9676"/>
                      </a:lnTo>
                      <a:lnTo>
                        <a:pt x="1162" y="9672"/>
                      </a:lnTo>
                      <a:lnTo>
                        <a:pt x="1098" y="9664"/>
                      </a:lnTo>
                      <a:lnTo>
                        <a:pt x="1034" y="9652"/>
                      </a:lnTo>
                      <a:lnTo>
                        <a:pt x="970" y="9638"/>
                      </a:lnTo>
                      <a:lnTo>
                        <a:pt x="908" y="9620"/>
                      </a:lnTo>
                      <a:lnTo>
                        <a:pt x="846" y="9600"/>
                      </a:lnTo>
                      <a:lnTo>
                        <a:pt x="786" y="9576"/>
                      </a:lnTo>
                      <a:lnTo>
                        <a:pt x="726" y="9548"/>
                      </a:lnTo>
                      <a:lnTo>
                        <a:pt x="666" y="9518"/>
                      </a:lnTo>
                      <a:lnTo>
                        <a:pt x="610" y="9484"/>
                      </a:lnTo>
                      <a:lnTo>
                        <a:pt x="554" y="9448"/>
                      </a:lnTo>
                      <a:lnTo>
                        <a:pt x="500" y="9408"/>
                      </a:lnTo>
                      <a:lnTo>
                        <a:pt x="446" y="9364"/>
                      </a:lnTo>
                      <a:lnTo>
                        <a:pt x="396" y="9318"/>
                      </a:lnTo>
                      <a:lnTo>
                        <a:pt x="348" y="9268"/>
                      </a:lnTo>
                      <a:lnTo>
                        <a:pt x="348" y="9268"/>
                      </a:lnTo>
                      <a:lnTo>
                        <a:pt x="304" y="9218"/>
                      </a:lnTo>
                      <a:lnTo>
                        <a:pt x="262" y="9168"/>
                      </a:lnTo>
                      <a:lnTo>
                        <a:pt x="224" y="9114"/>
                      </a:lnTo>
                      <a:lnTo>
                        <a:pt x="188" y="9060"/>
                      </a:lnTo>
                      <a:lnTo>
                        <a:pt x="156" y="9004"/>
                      </a:lnTo>
                      <a:lnTo>
                        <a:pt x="128" y="8948"/>
                      </a:lnTo>
                      <a:lnTo>
                        <a:pt x="102" y="8890"/>
                      </a:lnTo>
                      <a:lnTo>
                        <a:pt x="78" y="8832"/>
                      </a:lnTo>
                      <a:lnTo>
                        <a:pt x="58" y="8772"/>
                      </a:lnTo>
                      <a:lnTo>
                        <a:pt x="42" y="8712"/>
                      </a:lnTo>
                      <a:lnTo>
                        <a:pt x="26" y="8652"/>
                      </a:lnTo>
                      <a:lnTo>
                        <a:pt x="16" y="8590"/>
                      </a:lnTo>
                      <a:lnTo>
                        <a:pt x="8" y="8528"/>
                      </a:lnTo>
                      <a:lnTo>
                        <a:pt x="2" y="8466"/>
                      </a:lnTo>
                      <a:lnTo>
                        <a:pt x="0" y="8404"/>
                      </a:lnTo>
                      <a:lnTo>
                        <a:pt x="0" y="8342"/>
                      </a:lnTo>
                      <a:lnTo>
                        <a:pt x="4" y="8282"/>
                      </a:lnTo>
                      <a:lnTo>
                        <a:pt x="10" y="8220"/>
                      </a:lnTo>
                      <a:lnTo>
                        <a:pt x="20" y="8158"/>
                      </a:lnTo>
                      <a:lnTo>
                        <a:pt x="32" y="8098"/>
                      </a:lnTo>
                      <a:lnTo>
                        <a:pt x="48" y="8036"/>
                      </a:lnTo>
                      <a:lnTo>
                        <a:pt x="66" y="7978"/>
                      </a:lnTo>
                      <a:lnTo>
                        <a:pt x="88" y="7918"/>
                      </a:lnTo>
                      <a:lnTo>
                        <a:pt x="112" y="7860"/>
                      </a:lnTo>
                      <a:lnTo>
                        <a:pt x="138" y="7804"/>
                      </a:lnTo>
                      <a:lnTo>
                        <a:pt x="168" y="7748"/>
                      </a:lnTo>
                      <a:lnTo>
                        <a:pt x="202" y="7694"/>
                      </a:lnTo>
                      <a:lnTo>
                        <a:pt x="238" y="7640"/>
                      </a:lnTo>
                      <a:lnTo>
                        <a:pt x="276" y="7588"/>
                      </a:lnTo>
                      <a:lnTo>
                        <a:pt x="318" y="7538"/>
                      </a:lnTo>
                      <a:lnTo>
                        <a:pt x="362" y="7490"/>
                      </a:lnTo>
                      <a:lnTo>
                        <a:pt x="410" y="7442"/>
                      </a:lnTo>
                      <a:lnTo>
                        <a:pt x="3196" y="4838"/>
                      </a:lnTo>
                      <a:lnTo>
                        <a:pt x="410" y="2234"/>
                      </a:lnTo>
                      <a:lnTo>
                        <a:pt x="410" y="2234"/>
                      </a:lnTo>
                      <a:lnTo>
                        <a:pt x="362" y="2188"/>
                      </a:lnTo>
                      <a:lnTo>
                        <a:pt x="318" y="2140"/>
                      </a:lnTo>
                      <a:lnTo>
                        <a:pt x="276" y="2090"/>
                      </a:lnTo>
                      <a:lnTo>
                        <a:pt x="238" y="2038"/>
                      </a:lnTo>
                      <a:lnTo>
                        <a:pt x="202" y="1984"/>
                      </a:lnTo>
                      <a:lnTo>
                        <a:pt x="168" y="1930"/>
                      </a:lnTo>
                      <a:lnTo>
                        <a:pt x="138" y="1874"/>
                      </a:lnTo>
                      <a:lnTo>
                        <a:pt x="112" y="1818"/>
                      </a:lnTo>
                      <a:lnTo>
                        <a:pt x="88" y="1760"/>
                      </a:lnTo>
                      <a:lnTo>
                        <a:pt x="66" y="1700"/>
                      </a:lnTo>
                      <a:lnTo>
                        <a:pt x="48" y="1640"/>
                      </a:lnTo>
                      <a:lnTo>
                        <a:pt x="32" y="1580"/>
                      </a:lnTo>
                      <a:lnTo>
                        <a:pt x="20" y="1520"/>
                      </a:lnTo>
                      <a:lnTo>
                        <a:pt x="10" y="1458"/>
                      </a:lnTo>
                      <a:lnTo>
                        <a:pt x="4" y="1396"/>
                      </a:lnTo>
                      <a:lnTo>
                        <a:pt x="0" y="1334"/>
                      </a:lnTo>
                      <a:lnTo>
                        <a:pt x="0" y="1272"/>
                      </a:lnTo>
                      <a:lnTo>
                        <a:pt x="2" y="1210"/>
                      </a:lnTo>
                      <a:lnTo>
                        <a:pt x="8" y="1148"/>
                      </a:lnTo>
                      <a:lnTo>
                        <a:pt x="16" y="1088"/>
                      </a:lnTo>
                      <a:lnTo>
                        <a:pt x="26" y="1026"/>
                      </a:lnTo>
                      <a:lnTo>
                        <a:pt x="42" y="966"/>
                      </a:lnTo>
                      <a:lnTo>
                        <a:pt x="58" y="906"/>
                      </a:lnTo>
                      <a:lnTo>
                        <a:pt x="78" y="846"/>
                      </a:lnTo>
                      <a:lnTo>
                        <a:pt x="102" y="788"/>
                      </a:lnTo>
                      <a:lnTo>
                        <a:pt x="128" y="730"/>
                      </a:lnTo>
                      <a:lnTo>
                        <a:pt x="156" y="672"/>
                      </a:lnTo>
                      <a:lnTo>
                        <a:pt x="188" y="618"/>
                      </a:lnTo>
                      <a:lnTo>
                        <a:pt x="224" y="562"/>
                      </a:lnTo>
                      <a:lnTo>
                        <a:pt x="262" y="510"/>
                      </a:lnTo>
                      <a:lnTo>
                        <a:pt x="304" y="458"/>
                      </a:lnTo>
                      <a:lnTo>
                        <a:pt x="348" y="410"/>
                      </a:lnTo>
                      <a:lnTo>
                        <a:pt x="348" y="410"/>
                      </a:lnTo>
                      <a:lnTo>
                        <a:pt x="394" y="362"/>
                      </a:lnTo>
                      <a:lnTo>
                        <a:pt x="442" y="318"/>
                      </a:lnTo>
                      <a:lnTo>
                        <a:pt x="492" y="276"/>
                      </a:lnTo>
                      <a:lnTo>
                        <a:pt x="544" y="236"/>
                      </a:lnTo>
                      <a:lnTo>
                        <a:pt x="598" y="200"/>
                      </a:lnTo>
                      <a:lnTo>
                        <a:pt x="652" y="168"/>
                      </a:lnTo>
                      <a:lnTo>
                        <a:pt x="708" y="138"/>
                      </a:lnTo>
                      <a:lnTo>
                        <a:pt x="764" y="112"/>
                      </a:lnTo>
                      <a:lnTo>
                        <a:pt x="822" y="86"/>
                      </a:lnTo>
                      <a:lnTo>
                        <a:pt x="882" y="66"/>
                      </a:lnTo>
                      <a:lnTo>
                        <a:pt x="942" y="48"/>
                      </a:lnTo>
                      <a:lnTo>
                        <a:pt x="1002" y="32"/>
                      </a:lnTo>
                      <a:lnTo>
                        <a:pt x="1062" y="20"/>
                      </a:lnTo>
                      <a:lnTo>
                        <a:pt x="1124" y="10"/>
                      </a:lnTo>
                      <a:lnTo>
                        <a:pt x="1186" y="4"/>
                      </a:lnTo>
                      <a:lnTo>
                        <a:pt x="1248" y="0"/>
                      </a:lnTo>
                      <a:lnTo>
                        <a:pt x="1310" y="0"/>
                      </a:lnTo>
                      <a:lnTo>
                        <a:pt x="1372" y="2"/>
                      </a:lnTo>
                      <a:lnTo>
                        <a:pt x="1434" y="8"/>
                      </a:lnTo>
                      <a:lnTo>
                        <a:pt x="1494" y="16"/>
                      </a:lnTo>
                      <a:lnTo>
                        <a:pt x="1556" y="26"/>
                      </a:lnTo>
                      <a:lnTo>
                        <a:pt x="1616" y="40"/>
                      </a:lnTo>
                      <a:lnTo>
                        <a:pt x="1676" y="58"/>
                      </a:lnTo>
                      <a:lnTo>
                        <a:pt x="1736" y="78"/>
                      </a:lnTo>
                      <a:lnTo>
                        <a:pt x="1796" y="102"/>
                      </a:lnTo>
                      <a:lnTo>
                        <a:pt x="1852" y="128"/>
                      </a:lnTo>
                      <a:lnTo>
                        <a:pt x="1910" y="156"/>
                      </a:lnTo>
                      <a:lnTo>
                        <a:pt x="1964" y="188"/>
                      </a:lnTo>
                      <a:lnTo>
                        <a:pt x="2020" y="224"/>
                      </a:lnTo>
                      <a:lnTo>
                        <a:pt x="2072" y="262"/>
                      </a:lnTo>
                      <a:lnTo>
                        <a:pt x="2124" y="302"/>
                      </a:lnTo>
                      <a:lnTo>
                        <a:pt x="2174" y="348"/>
                      </a:lnTo>
                      <a:lnTo>
                        <a:pt x="5970" y="3896"/>
                      </a:lnTo>
                      <a:lnTo>
                        <a:pt x="5970" y="3896"/>
                      </a:lnTo>
                      <a:lnTo>
                        <a:pt x="6018" y="3942"/>
                      </a:lnTo>
                      <a:lnTo>
                        <a:pt x="6062" y="3992"/>
                      </a:lnTo>
                      <a:lnTo>
                        <a:pt x="6106" y="4042"/>
                      </a:lnTo>
                      <a:lnTo>
                        <a:pt x="6144" y="4096"/>
                      </a:lnTo>
                      <a:lnTo>
                        <a:pt x="6180" y="4150"/>
                      </a:lnTo>
                      <a:lnTo>
                        <a:pt x="6214" y="4206"/>
                      </a:lnTo>
                      <a:lnTo>
                        <a:pt x="6246" y="4264"/>
                      </a:lnTo>
                      <a:lnTo>
                        <a:pt x="6274" y="4324"/>
                      </a:lnTo>
                      <a:lnTo>
                        <a:pt x="6298" y="4386"/>
                      </a:lnTo>
                      <a:lnTo>
                        <a:pt x="6320" y="4448"/>
                      </a:lnTo>
                      <a:lnTo>
                        <a:pt x="6338" y="4510"/>
                      </a:lnTo>
                      <a:lnTo>
                        <a:pt x="6352" y="4574"/>
                      </a:lnTo>
                      <a:lnTo>
                        <a:pt x="6364" y="4640"/>
                      </a:lnTo>
                      <a:lnTo>
                        <a:pt x="6374" y="4706"/>
                      </a:lnTo>
                      <a:lnTo>
                        <a:pt x="6378" y="4772"/>
                      </a:lnTo>
                      <a:lnTo>
                        <a:pt x="6380" y="4838"/>
                      </a:lnTo>
                      <a:lnTo>
                        <a:pt x="6380" y="4838"/>
                      </a:lnTo>
                      <a:lnTo>
                        <a:pt x="6378" y="4906"/>
                      </a:lnTo>
                      <a:lnTo>
                        <a:pt x="6374" y="4972"/>
                      </a:lnTo>
                      <a:lnTo>
                        <a:pt x="6364" y="5038"/>
                      </a:lnTo>
                      <a:lnTo>
                        <a:pt x="6352" y="5102"/>
                      </a:lnTo>
                      <a:lnTo>
                        <a:pt x="6338" y="5166"/>
                      </a:lnTo>
                      <a:lnTo>
                        <a:pt x="6320" y="5230"/>
                      </a:lnTo>
                      <a:lnTo>
                        <a:pt x="6298" y="5292"/>
                      </a:lnTo>
                      <a:lnTo>
                        <a:pt x="6274" y="5354"/>
                      </a:lnTo>
                      <a:lnTo>
                        <a:pt x="6246" y="5412"/>
                      </a:lnTo>
                      <a:lnTo>
                        <a:pt x="6214" y="5470"/>
                      </a:lnTo>
                      <a:lnTo>
                        <a:pt x="6180" y="5528"/>
                      </a:lnTo>
                      <a:lnTo>
                        <a:pt x="6144" y="5582"/>
                      </a:lnTo>
                      <a:lnTo>
                        <a:pt x="6106" y="5636"/>
                      </a:lnTo>
                      <a:lnTo>
                        <a:pt x="6062" y="5686"/>
                      </a:lnTo>
                      <a:lnTo>
                        <a:pt x="6018" y="5736"/>
                      </a:lnTo>
                      <a:lnTo>
                        <a:pt x="5970" y="5782"/>
                      </a:lnTo>
                      <a:lnTo>
                        <a:pt x="2174" y="9330"/>
                      </a:lnTo>
                      <a:lnTo>
                        <a:pt x="2174" y="9330"/>
                      </a:lnTo>
                      <a:lnTo>
                        <a:pt x="2126" y="9372"/>
                      </a:lnTo>
                      <a:lnTo>
                        <a:pt x="2076" y="9412"/>
                      </a:lnTo>
                      <a:lnTo>
                        <a:pt x="2026" y="9448"/>
                      </a:lnTo>
                      <a:lnTo>
                        <a:pt x="1974" y="9482"/>
                      </a:lnTo>
                      <a:lnTo>
                        <a:pt x="1922" y="9514"/>
                      </a:lnTo>
                      <a:lnTo>
                        <a:pt x="1868" y="9542"/>
                      </a:lnTo>
                      <a:lnTo>
                        <a:pt x="1814" y="9568"/>
                      </a:lnTo>
                      <a:lnTo>
                        <a:pt x="1758" y="9592"/>
                      </a:lnTo>
                      <a:lnTo>
                        <a:pt x="1700" y="9612"/>
                      </a:lnTo>
                      <a:lnTo>
                        <a:pt x="1644" y="9630"/>
                      </a:lnTo>
                      <a:lnTo>
                        <a:pt x="1586" y="9644"/>
                      </a:lnTo>
                      <a:lnTo>
                        <a:pt x="1528" y="9656"/>
                      </a:lnTo>
                      <a:lnTo>
                        <a:pt x="1468" y="9666"/>
                      </a:lnTo>
                      <a:lnTo>
                        <a:pt x="1410" y="9672"/>
                      </a:lnTo>
                      <a:lnTo>
                        <a:pt x="1350" y="9676"/>
                      </a:lnTo>
                      <a:lnTo>
                        <a:pt x="1292" y="9678"/>
                      </a:lnTo>
                      <a:lnTo>
                        <a:pt x="1292" y="9678"/>
                      </a:lnTo>
                      <a:close/>
                    </a:path>
                  </a:pathLst>
                </a:custGeom>
                <a:solidFill>
                  <a:srgbClr val="C8ACE8"/>
                </a:solidFill>
                <a:ln w="15875">
                  <a:noFill/>
                  <a:miter lim="800000"/>
                </a:ln>
              </p:spPr>
              <p:txBody>
                <a:bodyPr anchor="ctr"/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6" name="组合 25"/>
              <p:cNvGrpSpPr/>
              <p:nvPr/>
            </p:nvGrpSpPr>
            <p:grpSpPr>
              <a:xfrm>
                <a:off x="8830" y="2333"/>
                <a:ext cx="5101" cy="1991"/>
                <a:chOff x="1960965" y="1448736"/>
                <a:chExt cx="3239260" cy="1263858"/>
              </a:xfrm>
            </p:grpSpPr>
            <p:sp>
              <p:nvSpPr>
                <p:cNvPr id="27" name="矩形 26"/>
                <p:cNvSpPr/>
                <p:nvPr/>
              </p:nvSpPr>
              <p:spPr>
                <a:xfrm>
                  <a:off x="2147449" y="1873275"/>
                  <a:ext cx="3052776" cy="839319"/>
                </a:xfrm>
                <a:prstGeom prst="rect">
                  <a:avLst/>
                </a:prstGeom>
              </p:spPr>
              <p:txBody>
                <a:bodyPr wrap="square">
                  <a:spAutoFit/>
                  <a:scene3d>
                    <a:camera prst="orthographicFront"/>
                    <a:lightRig rig="threePt" dir="t"/>
                  </a:scene3d>
                  <a:sp3d contourW="12700"/>
                </a:bodyPr>
                <a:lstStyle/>
                <a:p>
                  <a:pPr algn="just">
                    <a:lnSpc>
                      <a:spcPct val="120000"/>
                    </a:lnSpc>
                  </a:pPr>
                  <a:r>
                    <a:rPr lang="en-US" altLang="zh-CN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cs typeface="+mn-ea"/>
                      <a:sym typeface="+mn-lt"/>
                    </a:rPr>
                    <a:t>Click here to add content, content to match the title. </a:t>
                  </a:r>
                  <a:endPara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8" name="矩形 27"/>
                <p:cNvSpPr/>
                <p:nvPr/>
              </p:nvSpPr>
              <p:spPr>
                <a:xfrm>
                  <a:off x="1960965" y="1448736"/>
                  <a:ext cx="2241973" cy="484598"/>
                </a:xfrm>
                <a:prstGeom prst="rect">
                  <a:avLst/>
                </a:prstGeom>
              </p:spPr>
              <p:txBody>
                <a:bodyPr wrap="square">
                  <a:spAutoFit/>
                  <a:scene3d>
                    <a:camera prst="orthographicFront"/>
                    <a:lightRig rig="threePt" dir="t"/>
                  </a:scene3d>
                  <a:sp3d contourW="12700"/>
                </a:bodyPr>
                <a:lstStyle/>
                <a:p>
                  <a:pPr algn="just">
                    <a:lnSpc>
                      <a:spcPct val="120000"/>
                    </a:lnSpc>
                  </a:pPr>
                  <a:r>
                    <a:rPr lang="en-US" altLang="zh-CN" sz="1200" b="1" dirty="0">
                      <a:solidFill>
                        <a:srgbClr val="9D6BAB"/>
                      </a:solidFill>
                      <a:cs typeface="+mn-ea"/>
                      <a:sym typeface="+mn-lt"/>
                    </a:rPr>
                    <a:t>Add title text</a:t>
                  </a:r>
                  <a:endParaRPr lang="zh-CN" altLang="en-US" sz="1200" b="1" dirty="0">
                    <a:solidFill>
                      <a:srgbClr val="9D6BAB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9" name="组合 28"/>
              <p:cNvGrpSpPr/>
              <p:nvPr/>
            </p:nvGrpSpPr>
            <p:grpSpPr>
              <a:xfrm>
                <a:off x="9123" y="7416"/>
                <a:ext cx="3791" cy="2447"/>
                <a:chOff x="-6905" y="1724200"/>
                <a:chExt cx="2407567" cy="1553826"/>
              </a:xfrm>
            </p:grpSpPr>
            <p:sp>
              <p:nvSpPr>
                <p:cNvPr id="30" name="矩形 29"/>
                <p:cNvSpPr/>
                <p:nvPr/>
              </p:nvSpPr>
              <p:spPr>
                <a:xfrm>
                  <a:off x="-6905" y="2078936"/>
                  <a:ext cx="2407567" cy="1199090"/>
                </a:xfrm>
                <a:prstGeom prst="rect">
                  <a:avLst/>
                </a:prstGeom>
              </p:spPr>
              <p:txBody>
                <a:bodyPr wrap="square">
                  <a:spAutoFit/>
                  <a:scene3d>
                    <a:camera prst="orthographicFront"/>
                    <a:lightRig rig="threePt" dir="t"/>
                  </a:scene3d>
                  <a:sp3d contourW="12700"/>
                </a:bodyPr>
                <a:lstStyle/>
                <a:p>
                  <a:pPr algn="just">
                    <a:lnSpc>
                      <a:spcPct val="120000"/>
                    </a:lnSpc>
                  </a:pPr>
                  <a:r>
                    <a:rPr lang="en-US" altLang="zh-CN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cs typeface="+mn-ea"/>
                      <a:sym typeface="+mn-lt"/>
                    </a:rPr>
                    <a:t>Click here to add content, content to match the title. </a:t>
                  </a:r>
                  <a:endPara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1" name="矩形 30"/>
                <p:cNvSpPr/>
                <p:nvPr/>
              </p:nvSpPr>
              <p:spPr>
                <a:xfrm>
                  <a:off x="-6905" y="1724200"/>
                  <a:ext cx="2241974" cy="484756"/>
                </a:xfrm>
                <a:prstGeom prst="rect">
                  <a:avLst/>
                </a:prstGeom>
              </p:spPr>
              <p:txBody>
                <a:bodyPr wrap="square">
                  <a:spAutoFit/>
                  <a:scene3d>
                    <a:camera prst="orthographicFront"/>
                    <a:lightRig rig="threePt" dir="t"/>
                  </a:scene3d>
                  <a:sp3d contourW="12700"/>
                </a:bodyPr>
                <a:lstStyle/>
                <a:p>
                  <a:pPr algn="just">
                    <a:lnSpc>
                      <a:spcPct val="120000"/>
                    </a:lnSpc>
                  </a:pPr>
                  <a:r>
                    <a:rPr lang="en-US" altLang="zh-CN" sz="1200" b="1" dirty="0">
                      <a:solidFill>
                        <a:srgbClr val="9D6BAB"/>
                      </a:solidFill>
                      <a:cs typeface="+mn-ea"/>
                      <a:sym typeface="+mn-lt"/>
                    </a:rPr>
                    <a:t>Add title text</a:t>
                  </a:r>
                  <a:endParaRPr lang="zh-CN" altLang="en-US" sz="1200" b="1" dirty="0">
                    <a:solidFill>
                      <a:srgbClr val="9D6BAB"/>
                    </a:solidFill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2" name="组合 31"/>
              <p:cNvGrpSpPr/>
              <p:nvPr/>
            </p:nvGrpSpPr>
            <p:grpSpPr>
              <a:xfrm>
                <a:off x="3107" y="7417"/>
                <a:ext cx="3791" cy="2447"/>
                <a:chOff x="1965087" y="1724200"/>
                <a:chExt cx="2407567" cy="1553696"/>
              </a:xfrm>
            </p:grpSpPr>
            <p:sp>
              <p:nvSpPr>
                <p:cNvPr id="33" name="矩形 32"/>
                <p:cNvSpPr/>
                <p:nvPr/>
              </p:nvSpPr>
              <p:spPr>
                <a:xfrm>
                  <a:off x="1965087" y="2078937"/>
                  <a:ext cx="2407567" cy="1198959"/>
                </a:xfrm>
                <a:prstGeom prst="rect">
                  <a:avLst/>
                </a:prstGeom>
              </p:spPr>
              <p:txBody>
                <a:bodyPr wrap="square">
                  <a:spAutoFit/>
                  <a:scene3d>
                    <a:camera prst="orthographicFront"/>
                    <a:lightRig rig="threePt" dir="t"/>
                  </a:scene3d>
                  <a:sp3d contourW="12700"/>
                </a:bodyPr>
                <a:lstStyle/>
                <a:p>
                  <a:pPr algn="r">
                    <a:lnSpc>
                      <a:spcPct val="120000"/>
                    </a:lnSpc>
                  </a:pPr>
                  <a:r>
                    <a:rPr lang="en-US" altLang="zh-CN" sz="1200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cs typeface="+mn-ea"/>
                      <a:sym typeface="+mn-lt"/>
                    </a:rPr>
                    <a:t>Click here to add content, content to match the title. </a:t>
                  </a:r>
                  <a:endParaRPr lang="zh-CN" altLang="en-US" sz="1200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4" name="矩形 33"/>
                <p:cNvSpPr/>
                <p:nvPr/>
              </p:nvSpPr>
              <p:spPr>
                <a:xfrm>
                  <a:off x="2130680" y="1724200"/>
                  <a:ext cx="2241974" cy="484716"/>
                </a:xfrm>
                <a:prstGeom prst="rect">
                  <a:avLst/>
                </a:prstGeom>
              </p:spPr>
              <p:txBody>
                <a:bodyPr wrap="square">
                  <a:spAutoFit/>
                  <a:scene3d>
                    <a:camera prst="orthographicFront"/>
                    <a:lightRig rig="threePt" dir="t"/>
                  </a:scene3d>
                  <a:sp3d contourW="12700"/>
                </a:bodyPr>
                <a:lstStyle/>
                <a:p>
                  <a:pPr algn="r">
                    <a:lnSpc>
                      <a:spcPct val="120000"/>
                    </a:lnSpc>
                  </a:pPr>
                  <a:r>
                    <a:rPr lang="en-US" altLang="zh-CN" sz="1200" b="1" dirty="0">
                      <a:solidFill>
                        <a:srgbClr val="9D6BAB"/>
                      </a:solidFill>
                      <a:cs typeface="+mn-ea"/>
                      <a:sym typeface="+mn-lt"/>
                    </a:rPr>
                    <a:t>Add title text</a:t>
                  </a:r>
                  <a:endParaRPr lang="zh-CN" altLang="en-US" sz="1200" b="1" dirty="0">
                    <a:solidFill>
                      <a:srgbClr val="9D6BAB"/>
                    </a:solidFill>
                    <a:cs typeface="+mn-ea"/>
                    <a:sym typeface="+mn-lt"/>
                  </a:endParaRPr>
                </a:p>
              </p:txBody>
            </p:sp>
          </p:grpSp>
        </p:grpSp>
        <p:cxnSp>
          <p:nvCxnSpPr>
            <p:cNvPr id="16" name="Straight Arrow Connector 8"/>
            <p:cNvCxnSpPr/>
            <p:nvPr/>
          </p:nvCxnSpPr>
          <p:spPr>
            <a:xfrm flipV="1">
              <a:off x="3503" y="3494"/>
              <a:ext cx="0" cy="477"/>
            </a:xfrm>
            <a:prstGeom prst="straightConnector1">
              <a:avLst/>
            </a:prstGeom>
            <a:ln>
              <a:solidFill>
                <a:srgbClr val="D9D9D9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矩形 16"/>
            <p:cNvSpPr/>
            <p:nvPr/>
          </p:nvSpPr>
          <p:spPr>
            <a:xfrm>
              <a:off x="2017" y="2655"/>
              <a:ext cx="3126" cy="815"/>
            </a:xfrm>
            <a:prstGeom prst="rect">
              <a:avLst/>
            </a:prstGeom>
          </p:spPr>
          <p:txBody>
            <a:bodyPr wrap="square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just">
                <a:lnSpc>
                  <a:spcPct val="120000"/>
                </a:lnSpc>
              </a:pPr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8" name="矩形 17"/>
            <p:cNvSpPr/>
            <p:nvPr/>
          </p:nvSpPr>
          <p:spPr>
            <a:xfrm>
              <a:off x="2017" y="2243"/>
              <a:ext cx="3205" cy="471"/>
            </a:xfrm>
            <a:prstGeom prst="rect">
              <a:avLst/>
            </a:prstGeom>
          </p:spPr>
          <p:txBody>
            <a:bodyPr wrap="square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just">
                <a:lnSpc>
                  <a:spcPct val="120000"/>
                </a:lnSpc>
              </a:pPr>
              <a:r>
                <a:rPr lang="en-US" altLang="zh-CN" sz="1200" b="1" dirty="0">
                  <a:solidFill>
                    <a:srgbClr val="9D6BAB"/>
                  </a:solidFill>
                  <a:cs typeface="+mn-ea"/>
                  <a:sym typeface="+mn-lt"/>
                </a:rPr>
                <a:t>Add title text</a:t>
              </a:r>
              <a:endParaRPr lang="zh-CN" altLang="en-US" sz="1200" b="1" dirty="0">
                <a:solidFill>
                  <a:srgbClr val="9D6BAB"/>
                </a:solidFill>
                <a:cs typeface="+mn-ea"/>
                <a:sym typeface="+mn-lt"/>
              </a:endParaRPr>
            </a:p>
          </p:txBody>
        </p:sp>
        <p:cxnSp>
          <p:nvCxnSpPr>
            <p:cNvPr id="19" name="Straight Arrow Connector 3"/>
            <p:cNvCxnSpPr/>
            <p:nvPr/>
          </p:nvCxnSpPr>
          <p:spPr>
            <a:xfrm>
              <a:off x="9866" y="4708"/>
              <a:ext cx="0" cy="591"/>
            </a:xfrm>
            <a:prstGeom prst="straightConnector1">
              <a:avLst/>
            </a:prstGeom>
            <a:ln>
              <a:solidFill>
                <a:srgbClr val="B1B5E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矩形 19"/>
            <p:cNvSpPr/>
            <p:nvPr/>
          </p:nvSpPr>
          <p:spPr>
            <a:xfrm>
              <a:off x="9022" y="5801"/>
              <a:ext cx="2337" cy="1164"/>
            </a:xfrm>
            <a:prstGeom prst="rect">
              <a:avLst/>
            </a:prstGeom>
          </p:spPr>
          <p:txBody>
            <a:bodyPr wrap="square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just">
                <a:lnSpc>
                  <a:spcPct val="120000"/>
                </a:lnSpc>
              </a:pPr>
              <a:r>
                <a:rPr lang="en-US" altLang="zh-CN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+mn-ea"/>
                  <a:sym typeface="+mn-lt"/>
                </a:rPr>
                <a:t>Click here to add content, content to match the title. </a:t>
              </a:r>
              <a:endParaRPr lang="zh-CN" altLang="en-US" sz="1200" dirty="0">
                <a:solidFill>
                  <a:schemeClr val="tx1">
                    <a:lumMod val="75000"/>
                    <a:lumOff val="25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9022" y="5457"/>
              <a:ext cx="2176" cy="471"/>
            </a:xfrm>
            <a:prstGeom prst="rect">
              <a:avLst/>
            </a:prstGeom>
          </p:spPr>
          <p:txBody>
            <a:bodyPr wrap="square">
              <a:spAutoFit/>
              <a:scene3d>
                <a:camera prst="orthographicFront"/>
                <a:lightRig rig="threePt" dir="t"/>
              </a:scene3d>
              <a:sp3d contourW="12700"/>
            </a:bodyPr>
            <a:lstStyle/>
            <a:p>
              <a:pPr algn="just">
                <a:lnSpc>
                  <a:spcPct val="120000"/>
                </a:lnSpc>
              </a:pPr>
              <a:r>
                <a:rPr lang="en-US" altLang="zh-CN" sz="1200" b="1" dirty="0">
                  <a:solidFill>
                    <a:srgbClr val="9D6BAB"/>
                  </a:solidFill>
                  <a:cs typeface="+mn-ea"/>
                  <a:sym typeface="+mn-lt"/>
                </a:rPr>
                <a:t>Add title text</a:t>
              </a:r>
              <a:endParaRPr lang="zh-CN" altLang="en-US" sz="1200" b="1" dirty="0">
                <a:solidFill>
                  <a:srgbClr val="9D6BAB"/>
                </a:solidFill>
                <a:cs typeface="+mn-ea"/>
                <a:sym typeface="+mn-lt"/>
              </a:endParaRPr>
            </a:p>
          </p:txBody>
        </p:sp>
      </p:grpSp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400" tmFilter="0,0; .5, 1; 1, 1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图片 1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38646"/>
            <a:ext cx="9144000" cy="5144038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735" y="289649"/>
            <a:ext cx="9144000" cy="5144038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652084" y="-38646"/>
            <a:ext cx="1491916" cy="1049299"/>
          </a:xfrm>
          <a:prstGeom prst="rect">
            <a:avLst/>
          </a:prstGeom>
        </p:spPr>
      </p:pic>
      <p:pic>
        <p:nvPicPr>
          <p:cNvPr id="19" name="图片 18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2042667"/>
            <a:ext cx="9144000" cy="3078298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1801430"/>
            <a:ext cx="9144000" cy="3303660"/>
          </a:xfrm>
          <a:prstGeom prst="rect">
            <a:avLst/>
          </a:prstGeom>
        </p:spPr>
      </p:pic>
      <p:pic>
        <p:nvPicPr>
          <p:cNvPr id="20" name="图片 19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2180" y="673218"/>
            <a:ext cx="4739639" cy="186015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3692683" y="987742"/>
            <a:ext cx="3189988" cy="123110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spAutoFit/>
          </a:bodyPr>
          <a:lstStyle/>
          <a:p>
            <a:pPr defTabSz="68516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4000" b="1" dirty="0">
                <a:solidFill>
                  <a:schemeClr val="accent2"/>
                </a:solidFill>
                <a:cs typeface="+mn-ea"/>
                <a:sym typeface="+mn-lt"/>
              </a:rPr>
              <a:t>Instructional </a:t>
            </a:r>
          </a:p>
          <a:p>
            <a:pPr defTabSz="68516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zh-CN" sz="4000" b="1" dirty="0">
                <a:solidFill>
                  <a:schemeClr val="accent2"/>
                </a:solidFill>
                <a:cs typeface="+mn-ea"/>
                <a:sym typeface="+mn-lt"/>
              </a:rPr>
              <a:t>Design</a:t>
            </a:r>
            <a:endParaRPr lang="zh-CN" altLang="en-US" sz="4000" b="1" dirty="0">
              <a:solidFill>
                <a:schemeClr val="accent2"/>
              </a:solidFill>
              <a:cs typeface="+mn-ea"/>
              <a:sym typeface="+mn-lt"/>
            </a:endParaRP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899610" y="1284908"/>
            <a:ext cx="733926" cy="589547"/>
          </a:xfrm>
          <a:prstGeom prst="rect">
            <a:avLst/>
          </a:prstGeom>
        </p:spPr>
      </p:pic>
    </p:spTree>
  </p:cSld>
  <p:clrMapOvr>
    <a:masterClrMapping/>
  </p:clrMapOvr>
  <p:transition spd="med" advClick="0" advTm="2000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500"/>
                            </p:stCondLst>
                            <p:childTnLst>
                              <p:par>
                                <p:cTn id="38" presetID="56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by="(-#ppt_w*2)" calcmode="lin" valueType="num">
                                      <p:cBhvr rctx="PPT">
                                        <p:cTn id="40" dur="3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</p:anim>
                                    <p:anim by="(#ppt_w*0.50)" calcmode="lin" valueType="num">
                                      <p:cBhvr>
                                        <p:cTn id="41" dur="300" decel="50000" autoRev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</p:anim>
                                    <p:anim from="(-#ppt_h/2)" to="(#ppt_y)" calcmode="lin" valueType="num">
                                      <p:cBhvr>
                                        <p:cTn id="42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</p:anim>
                                    <p:animRot by="21600000">
                                      <p:cBhvr>
                                        <p:cTn id="43" dur="6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PRESENTATION_TITLE" val="4002.pp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0906112422"/>
  <p:tag name="MH_LIBRARY" val="GRAPHIC"/>
  <p:tag name="MH_TYPE" val="SubTitle"/>
  <p:tag name="MH_ORDER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0906112422"/>
  <p:tag name="MH_LIBRARY" val="GRAPHIC"/>
  <p:tag name="MH_TYPE" val="SubTitle"/>
  <p:tag name="MH_ORD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0906112422"/>
  <p:tag name="MH_LIBRARY" val="GRAPHIC"/>
  <p:tag name="MH_TYPE" val="SubTitle"/>
  <p:tag name="MH_ORDER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0906112422"/>
  <p:tag name="MH_LIBRARY" val="GRAPHIC"/>
  <p:tag name="MH_TYPE" val="SubTitle"/>
  <p:tag name="MH_ORDER" val="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50906112422"/>
  <p:tag name="MH_LIBRARY" val="GRAPHIC"/>
  <p:tag name="MH_TYPE" val="SubTitle"/>
  <p:tag name="MH_ORDER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heme/theme1.xml><?xml version="1.0" encoding="utf-8"?>
<a:theme xmlns:a="http://schemas.openxmlformats.org/drawingml/2006/main" name="www.freeppt7.com">
  <a:themeElements>
    <a:clrScheme name="七色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073190"/>
      </a:accent1>
      <a:accent2>
        <a:srgbClr val="A52E8D"/>
      </a:accent2>
      <a:accent3>
        <a:srgbClr val="AC6AA9"/>
      </a:accent3>
      <a:accent4>
        <a:srgbClr val="3C3A39"/>
      </a:accent4>
      <a:accent5>
        <a:srgbClr val="646464"/>
      </a:accent5>
      <a:accent6>
        <a:srgbClr val="A5A4A5"/>
      </a:accent6>
      <a:hlink>
        <a:srgbClr val="4472C4"/>
      </a:hlink>
      <a:folHlink>
        <a:srgbClr val="BFBFBF"/>
      </a:folHlink>
    </a:clrScheme>
    <a:fontScheme name="0cowklqq">
      <a:majorFont>
        <a:latin typeface="印品黑体"/>
        <a:ea typeface="印品黑体"/>
        <a:cs typeface=""/>
      </a:majorFont>
      <a:minorFont>
        <a:latin typeface="印品黑体"/>
        <a:ea typeface="印品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0cowklqq">
      <a:majorFont>
        <a:latin typeface="印品黑体"/>
        <a:ea typeface="印品黑体"/>
        <a:cs typeface=""/>
      </a:majorFont>
      <a:minorFont>
        <a:latin typeface="印品黑体"/>
        <a:ea typeface="印品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七色">
    <a:dk1>
      <a:srgbClr val="000000"/>
    </a:dk1>
    <a:lt1>
      <a:srgbClr val="FFFFFF"/>
    </a:lt1>
    <a:dk2>
      <a:srgbClr val="768395"/>
    </a:dk2>
    <a:lt2>
      <a:srgbClr val="F0F0F0"/>
    </a:lt2>
    <a:accent1>
      <a:srgbClr val="073190"/>
    </a:accent1>
    <a:accent2>
      <a:srgbClr val="A52E8D"/>
    </a:accent2>
    <a:accent3>
      <a:srgbClr val="AC6AA9"/>
    </a:accent3>
    <a:accent4>
      <a:srgbClr val="3C3A39"/>
    </a:accent4>
    <a:accent5>
      <a:srgbClr val="646464"/>
    </a:accent5>
    <a:accent6>
      <a:srgbClr val="A5A4A5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七色">
    <a:dk1>
      <a:srgbClr val="000000"/>
    </a:dk1>
    <a:lt1>
      <a:srgbClr val="FFFFFF"/>
    </a:lt1>
    <a:dk2>
      <a:srgbClr val="768395"/>
    </a:dk2>
    <a:lt2>
      <a:srgbClr val="F0F0F0"/>
    </a:lt2>
    <a:accent1>
      <a:srgbClr val="073190"/>
    </a:accent1>
    <a:accent2>
      <a:srgbClr val="A52E8D"/>
    </a:accent2>
    <a:accent3>
      <a:srgbClr val="AC6AA9"/>
    </a:accent3>
    <a:accent4>
      <a:srgbClr val="3C3A39"/>
    </a:accent4>
    <a:accent5>
      <a:srgbClr val="646464"/>
    </a:accent5>
    <a:accent6>
      <a:srgbClr val="A5A4A5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七色">
    <a:dk1>
      <a:srgbClr val="000000"/>
    </a:dk1>
    <a:lt1>
      <a:srgbClr val="FFFFFF"/>
    </a:lt1>
    <a:dk2>
      <a:srgbClr val="768395"/>
    </a:dk2>
    <a:lt2>
      <a:srgbClr val="F0F0F0"/>
    </a:lt2>
    <a:accent1>
      <a:srgbClr val="073190"/>
    </a:accent1>
    <a:accent2>
      <a:srgbClr val="A52E8D"/>
    </a:accent2>
    <a:accent3>
      <a:srgbClr val="AC6AA9"/>
    </a:accent3>
    <a:accent4>
      <a:srgbClr val="3C3A39"/>
    </a:accent4>
    <a:accent5>
      <a:srgbClr val="646464"/>
    </a:accent5>
    <a:accent6>
      <a:srgbClr val="A5A4A5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七色">
    <a:dk1>
      <a:srgbClr val="000000"/>
    </a:dk1>
    <a:lt1>
      <a:srgbClr val="FFFFFF"/>
    </a:lt1>
    <a:dk2>
      <a:srgbClr val="768395"/>
    </a:dk2>
    <a:lt2>
      <a:srgbClr val="F0F0F0"/>
    </a:lt2>
    <a:accent1>
      <a:srgbClr val="073190"/>
    </a:accent1>
    <a:accent2>
      <a:srgbClr val="A52E8D"/>
    </a:accent2>
    <a:accent3>
      <a:srgbClr val="AC6AA9"/>
    </a:accent3>
    <a:accent4>
      <a:srgbClr val="3C3A39"/>
    </a:accent4>
    <a:accent5>
      <a:srgbClr val="646464"/>
    </a:accent5>
    <a:accent6>
      <a:srgbClr val="A5A4A5"/>
    </a:accent6>
    <a:hlink>
      <a:srgbClr val="4472C4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七色">
    <a:dk1>
      <a:srgbClr val="000000"/>
    </a:dk1>
    <a:lt1>
      <a:srgbClr val="FFFFFF"/>
    </a:lt1>
    <a:dk2>
      <a:srgbClr val="768395"/>
    </a:dk2>
    <a:lt2>
      <a:srgbClr val="F0F0F0"/>
    </a:lt2>
    <a:accent1>
      <a:srgbClr val="073190"/>
    </a:accent1>
    <a:accent2>
      <a:srgbClr val="A52E8D"/>
    </a:accent2>
    <a:accent3>
      <a:srgbClr val="AC6AA9"/>
    </a:accent3>
    <a:accent4>
      <a:srgbClr val="3C3A39"/>
    </a:accent4>
    <a:accent5>
      <a:srgbClr val="646464"/>
    </a:accent5>
    <a:accent6>
      <a:srgbClr val="A5A4A5"/>
    </a:accent6>
    <a:hlink>
      <a:srgbClr val="4472C4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七色">
    <a:dk1>
      <a:srgbClr val="000000"/>
    </a:dk1>
    <a:lt1>
      <a:srgbClr val="FFFFFF"/>
    </a:lt1>
    <a:dk2>
      <a:srgbClr val="768395"/>
    </a:dk2>
    <a:lt2>
      <a:srgbClr val="F0F0F0"/>
    </a:lt2>
    <a:accent1>
      <a:srgbClr val="073190"/>
    </a:accent1>
    <a:accent2>
      <a:srgbClr val="A52E8D"/>
    </a:accent2>
    <a:accent3>
      <a:srgbClr val="AC6AA9"/>
    </a:accent3>
    <a:accent4>
      <a:srgbClr val="3C3A39"/>
    </a:accent4>
    <a:accent5>
      <a:srgbClr val="646464"/>
    </a:accent5>
    <a:accent6>
      <a:srgbClr val="A5A4A5"/>
    </a:accent6>
    <a:hlink>
      <a:srgbClr val="4472C4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七色">
    <a:dk1>
      <a:srgbClr val="000000"/>
    </a:dk1>
    <a:lt1>
      <a:srgbClr val="FFFFFF"/>
    </a:lt1>
    <a:dk2>
      <a:srgbClr val="768395"/>
    </a:dk2>
    <a:lt2>
      <a:srgbClr val="F0F0F0"/>
    </a:lt2>
    <a:accent1>
      <a:srgbClr val="073190"/>
    </a:accent1>
    <a:accent2>
      <a:srgbClr val="A52E8D"/>
    </a:accent2>
    <a:accent3>
      <a:srgbClr val="AC6AA9"/>
    </a:accent3>
    <a:accent4>
      <a:srgbClr val="3C3A39"/>
    </a:accent4>
    <a:accent5>
      <a:srgbClr val="646464"/>
    </a:accent5>
    <a:accent6>
      <a:srgbClr val="A5A4A5"/>
    </a:accent6>
    <a:hlink>
      <a:srgbClr val="4472C4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七色">
    <a:dk1>
      <a:srgbClr val="000000"/>
    </a:dk1>
    <a:lt1>
      <a:srgbClr val="FFFFFF"/>
    </a:lt1>
    <a:dk2>
      <a:srgbClr val="768395"/>
    </a:dk2>
    <a:lt2>
      <a:srgbClr val="F0F0F0"/>
    </a:lt2>
    <a:accent1>
      <a:srgbClr val="073190"/>
    </a:accent1>
    <a:accent2>
      <a:srgbClr val="A52E8D"/>
    </a:accent2>
    <a:accent3>
      <a:srgbClr val="AC6AA9"/>
    </a:accent3>
    <a:accent4>
      <a:srgbClr val="3C3A39"/>
    </a:accent4>
    <a:accent5>
      <a:srgbClr val="646464"/>
    </a:accent5>
    <a:accent6>
      <a:srgbClr val="A5A4A5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47</Words>
  <Application>Microsoft Office PowerPoint</Application>
  <PresentationFormat>自定义</PresentationFormat>
  <Paragraphs>217</Paragraphs>
  <Slides>25</Slides>
  <Notes>24</Notes>
  <HiddenSlides>0</HiddenSlides>
  <MMClips>0</MMClips>
  <ScaleCrop>false</ScaleCrop>
  <HeadingPairs>
    <vt:vector size="6" baseType="variant">
      <vt:variant>
        <vt:lpstr>已用的字体</vt:lpstr>
      </vt:variant>
      <vt:variant>
        <vt:i4>5</vt:i4>
      </vt:variant>
      <vt:variant>
        <vt:lpstr>主题</vt:lpstr>
      </vt:variant>
      <vt:variant>
        <vt:i4>2</vt:i4>
      </vt:variant>
      <vt:variant>
        <vt:lpstr>幻灯片标题</vt:lpstr>
      </vt:variant>
      <vt:variant>
        <vt:i4>25</vt:i4>
      </vt:variant>
    </vt:vector>
  </HeadingPairs>
  <TitlesOfParts>
    <vt:vector size="32" baseType="lpstr">
      <vt:lpstr>微软雅黑</vt:lpstr>
      <vt:lpstr>Arial</vt:lpstr>
      <vt:lpstr>Calibri</vt:lpstr>
      <vt:lpstr>MS Reference Sans Serif</vt:lpstr>
      <vt:lpstr>Wingdings</vt:lpstr>
      <vt:lpstr>www.freeppt7.com</vt:lpstr>
      <vt:lpstr>1_自定义设计方案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教学说课</dc:title>
  <dc:creator/>
  <cp:lastModifiedBy/>
  <cp:revision>1</cp:revision>
  <dcterms:created xsi:type="dcterms:W3CDTF">2017-03-23T18:10:00Z</dcterms:created>
  <dcterms:modified xsi:type="dcterms:W3CDTF">2024-07-17T02:26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7469</vt:lpwstr>
  </property>
</Properties>
</file>